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modernComment_565D1DD6_EB0D744D.xml" ContentType="application/vnd.ms-powerpoint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1.xml" ContentType="application/vnd.openxmlformats-officedocument.presentationml.notesSlide+xml"/>
  <Override PartName="/ppt/comments/modernComment_565D1DF3_CB3F907E.xml" ContentType="application/vnd.ms-powerpoint.comments+xml"/>
  <Override PartName="/ppt/notesSlides/notesSlide12.xml" ContentType="application/vnd.openxmlformats-officedocument.presentationml.notesSlid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3.xml" ContentType="application/vnd.openxmlformats-officedocument.presentationml.notesSlide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14.xml" ContentType="application/vnd.openxmlformats-officedocument.presentationml.notesSlide+xml"/>
  <Override PartName="/ppt/comments/modernComment_13C_37747397.xml" ContentType="application/vnd.ms-powerpoint.comments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2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2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notesSlides/notesSlide15.xml" ContentType="application/vnd.openxmlformats-officedocument.presentationml.notesSlide+xml"/>
  <Override PartName="/ppt/comments/modernComment_565D1DE6_CB4E1797.xml" ContentType="application/vnd.ms-powerpoint.comments+xml"/>
  <Override PartName="/ppt/comments/modernComment_102_5CF96A71.xml" ContentType="application/vnd.ms-powerpoint.comments+xml"/>
  <Override PartName="/ppt/comments/modernComment_565D1DE4_FF48E54F.xml" ContentType="application/vnd.ms-powerpoint.comments+xml"/>
  <Override PartName="/ppt/charts/chart23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4.xml" ContentType="application/vnd.openxmlformats-officedocument.drawingml.chart+xml"/>
  <Override PartName="/ppt/comments/modernComment_101_8129E5FA.xml" ContentType="application/vnd.ms-powerpoint.comments+xml"/>
  <Override PartName="/ppt/comments/modernComment_565D1DDF_2D01562E.xml" ContentType="application/vnd.ms-powerpoint.comment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97" r:id="rId4"/>
  </p:sldMasterIdLst>
  <p:notesMasterIdLst>
    <p:notesMasterId r:id="rId49"/>
  </p:notesMasterIdLst>
  <p:handoutMasterIdLst>
    <p:handoutMasterId r:id="rId50"/>
  </p:handoutMasterIdLst>
  <p:sldIdLst>
    <p:sldId id="1448943063" r:id="rId5"/>
    <p:sldId id="4498" r:id="rId6"/>
    <p:sldId id="1448943072" r:id="rId7"/>
    <p:sldId id="1448943062" r:id="rId8"/>
    <p:sldId id="342" r:id="rId9"/>
    <p:sldId id="259" r:id="rId10"/>
    <p:sldId id="1448943073" r:id="rId11"/>
    <p:sldId id="1448943080" r:id="rId12"/>
    <p:sldId id="1448943079" r:id="rId13"/>
    <p:sldId id="1448943085" r:id="rId14"/>
    <p:sldId id="1448943095" r:id="rId15"/>
    <p:sldId id="1448943086" r:id="rId16"/>
    <p:sldId id="256" r:id="rId17"/>
    <p:sldId id="1448943094" r:id="rId18"/>
    <p:sldId id="322" r:id="rId19"/>
    <p:sldId id="312" r:id="rId20"/>
    <p:sldId id="260" r:id="rId21"/>
    <p:sldId id="2147473278" r:id="rId22"/>
    <p:sldId id="4493" r:id="rId23"/>
    <p:sldId id="1448943070" r:id="rId24"/>
    <p:sldId id="1448943091" r:id="rId25"/>
    <p:sldId id="1448943092" r:id="rId26"/>
    <p:sldId id="1448943089" r:id="rId27"/>
    <p:sldId id="1448943093" r:id="rId28"/>
    <p:sldId id="341" r:id="rId29"/>
    <p:sldId id="305" r:id="rId30"/>
    <p:sldId id="301" r:id="rId31"/>
    <p:sldId id="311" r:id="rId32"/>
    <p:sldId id="1448943088" r:id="rId33"/>
    <p:sldId id="316" r:id="rId34"/>
    <p:sldId id="317" r:id="rId35"/>
    <p:sldId id="1448943087" r:id="rId36"/>
    <p:sldId id="1448943069" r:id="rId37"/>
    <p:sldId id="1448943077" r:id="rId38"/>
    <p:sldId id="1448943078" r:id="rId39"/>
    <p:sldId id="1448943090" r:id="rId40"/>
    <p:sldId id="258" r:id="rId41"/>
    <p:sldId id="1448943076" r:id="rId42"/>
    <p:sldId id="1448943084" r:id="rId43"/>
    <p:sldId id="257" r:id="rId44"/>
    <p:sldId id="1448943082" r:id="rId45"/>
    <p:sldId id="1448943083" r:id="rId46"/>
    <p:sldId id="1448943071" r:id="rId47"/>
    <p:sldId id="1448943075" r:id="rId48"/>
  </p:sldIdLst>
  <p:sldSz cx="12192000" cy="6858000"/>
  <p:notesSz cx="6858000" cy="9144000"/>
  <p:embeddedFontLst>
    <p:embeddedFont>
      <p:font typeface="Montserrat" panose="00000500000000000000" pitchFamily="2" charset="0"/>
      <p:regular r:id="rId51"/>
      <p:bold r:id="rId52"/>
      <p:italic r:id="rId53"/>
      <p:boldItalic r:id="rId54"/>
    </p:embeddedFont>
    <p:embeddedFont>
      <p:font typeface="Montserrat Light" panose="00000400000000000000" pitchFamily="2" charset="0"/>
      <p:regular r:id="rId55"/>
      <p:italic r:id="rId56"/>
    </p:embeddedFont>
    <p:embeddedFont>
      <p:font typeface="Montserrat Medium" panose="00000600000000000000" pitchFamily="2" charset="0"/>
      <p:regular r:id="rId57"/>
      <p:italic r:id="rId58"/>
    </p:embeddedFont>
    <p:embeddedFont>
      <p:font typeface="Montserrat SemiBold" panose="00000700000000000000" pitchFamily="2" charset="0"/>
      <p:regular r:id="rId59"/>
      <p:bold r:id="rId60"/>
      <p:italic r:id="rId61"/>
      <p:boldItalic r:id="rId62"/>
    </p:embeddedFont>
    <p:embeddedFont>
      <p:font typeface="Nunito Sans" panose="020F0502020204030204" pitchFamily="2" charset="0"/>
      <p:regular r:id="rId63"/>
      <p:bold r:id="rId64"/>
      <p:italic r:id="rId65"/>
      <p:boldItalic r:id="rId66"/>
    </p:embeddedFont>
  </p:embeddedFontLst>
  <p:custDataLst>
    <p:tags r:id="rId6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912EB0E-3C49-F74C-AA23-3208A27A4E60}" name="Lesnefsky, Warren" initials="WL" userId="S::Warren.Lesnefsky@cotiviti.com::4e79a77a-57f7-4898-bc6a-5e138943e248" providerId="AD"/>
  <p188:author id="{FF37EF16-4888-9DC7-3251-5E1C6D29965E}" name="Neema, Pranay" initials="PN" userId="S::pranay.neema@cotiviti.com::4ab9390c-89ab-4350-ba16-daf0c5406a04" providerId="AD"/>
  <p188:author id="{10819538-A79B-40B1-639F-641E1DAEFBB3}" name="Waibel, Beth" initials="BW" userId="S::beth.waibel@cotiviti.com::7d27d961-0df1-4ff5-bfc5-fdbcbb0972a3" providerId="AD"/>
  <p188:author id="{B5781461-7C3A-502F-BDD8-E7AB1CF843C0}" name="Hawley, Matthew" initials="HM" userId="S::matthew.hawley@cotiviti.com::54e282e0-22bd-412b-a61a-11fd9ad0b815" providerId="AD"/>
  <p188:author id="{F45651D0-FD12-C282-5CEC-89E601FF4D39}" name="Kuruva, Janardhan" initials="KJ" userId="S::janardhan.kuruva@cotiviti.com::7ce688c4-0749-4702-aafa-84fde3b732d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79D3"/>
    <a:srgbClr val="BAA5E4"/>
    <a:srgbClr val="FFF3FA"/>
    <a:srgbClr val="FFE7F5"/>
    <a:srgbClr val="EAE4F6"/>
    <a:srgbClr val="DA7F29"/>
    <a:srgbClr val="E1832A"/>
    <a:srgbClr val="E6862B"/>
    <a:srgbClr val="EC8A2C"/>
    <a:srgbClr val="1990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B7A277-9D0E-47E6-AB72-101778455333}" v="1472" dt="2025-10-09T02:08:17.714"/>
    <p1510:client id="{5C9D92E0-53BA-40D0-BE8D-D60DD0846A4C}" v="1294" dt="2025-10-09T01:57:02.186"/>
  </p1510:revLst>
</p1510:revInfo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94643" autoAdjust="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font" Target="fonts/font13.fntdata"/><Relationship Id="rId6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font" Target="fonts/font3.fntdata"/><Relationship Id="rId58" Type="http://schemas.openxmlformats.org/officeDocument/2006/relationships/font" Target="fonts/font8.fntdata"/><Relationship Id="rId66" Type="http://schemas.openxmlformats.org/officeDocument/2006/relationships/font" Target="fonts/font16.fntdata"/><Relationship Id="rId5" Type="http://schemas.openxmlformats.org/officeDocument/2006/relationships/slide" Target="slides/slide1.xml"/><Relationship Id="rId61" Type="http://schemas.openxmlformats.org/officeDocument/2006/relationships/font" Target="fonts/font11.fntdata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font" Target="fonts/font6.fntdata"/><Relationship Id="rId64" Type="http://schemas.openxmlformats.org/officeDocument/2006/relationships/font" Target="fonts/font14.fntdata"/><Relationship Id="rId69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font" Target="fonts/font1.fntdata"/><Relationship Id="rId72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font" Target="fonts/font9.fntdata"/><Relationship Id="rId67" Type="http://schemas.openxmlformats.org/officeDocument/2006/relationships/tags" Target="tags/tag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font" Target="fonts/font4.fntdata"/><Relationship Id="rId62" Type="http://schemas.openxmlformats.org/officeDocument/2006/relationships/font" Target="fonts/font12.fntdata"/><Relationship Id="rId7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notesMaster" Target="notesMasters/notesMaster1.xml"/><Relationship Id="rId57" Type="http://schemas.openxmlformats.org/officeDocument/2006/relationships/font" Target="fonts/font7.fntdata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font" Target="fonts/font2.fntdata"/><Relationship Id="rId60" Type="http://schemas.openxmlformats.org/officeDocument/2006/relationships/font" Target="fonts/font10.fntdata"/><Relationship Id="rId65" Type="http://schemas.openxmlformats.org/officeDocument/2006/relationships/font" Target="fonts/font15.fntdata"/><Relationship Id="rId73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handoutMaster" Target="handoutMasters/handoutMaster1.xml"/><Relationship Id="rId55" Type="http://schemas.openxmlformats.org/officeDocument/2006/relationships/font" Target="fonts/font5.fntdata"/><Relationship Id="rId7" Type="http://schemas.openxmlformats.org/officeDocument/2006/relationships/slide" Target="slides/slide3.xml"/><Relationship Id="rId71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024534730894837"/>
          <c:y val="0.21126538460644656"/>
          <c:w val="0.55167022381562358"/>
          <c:h val="0.5820585933855944"/>
        </c:manualLayout>
      </c:layout>
      <c:doughnutChart>
        <c:varyColors val="1"/>
        <c:ser>
          <c:idx val="0"/>
          <c:order val="0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79E-49B6-88CB-4C39019D45AE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79E-49B6-88CB-4C39019D45AE}"/>
              </c:ext>
            </c:extLst>
          </c:dPt>
          <c:cat>
            <c:strRef>
              <c:f>Sheet1!$B$2:$B$3</c:f>
              <c:strCache>
                <c:ptCount val="2"/>
                <c:pt idx="0">
                  <c:v>%Remaining</c:v>
                </c:pt>
                <c:pt idx="1">
                  <c:v>%Completed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 formatCode="0%">
                  <c:v>0.05</c:v>
                </c:pt>
                <c:pt idx="1">
                  <c:v>0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79E-49B6-88CB-4C39019D4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9534430401493725E-2"/>
          <c:y val="0.85588325808890098"/>
          <c:w val="0.82806998002269905"/>
          <c:h val="8.50897837216397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055333710867793"/>
          <c:y val="0.20703030303030304"/>
          <c:w val="0.79465068114205339"/>
          <c:h val="0.5747878787878788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X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BE86E33E-89CB-481A-BBEE-12CD9AD27957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r>
                      <a:rPr lang="en-US">
                        <a:solidFill>
                          <a:schemeClr val="bg1"/>
                        </a:solidFill>
                      </a:rPr>
                      <a:t>(38K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39DA-412F-96AE-A81E6511EE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laim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651601891690075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DA-412F-96AE-A81E6511EE2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L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>
                        <a:solidFill>
                          <a:schemeClr val="bg1"/>
                        </a:solidFill>
                      </a:rPr>
                      <a:t>27%(15K)</a:t>
                    </a: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39DA-412F-96AE-A81E6511EE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laims</c:v>
                </c:pt>
              </c:strCache>
            </c:strRef>
          </c:cat>
          <c:val>
            <c:numRef>
              <c:f>Sheet1!$C$2</c:f>
              <c:numCache>
                <c:formatCode>0.00</c:formatCode>
                <c:ptCount val="1"/>
                <c:pt idx="0">
                  <c:v>0.27161042563026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DA-412F-96AE-A81E6511EE2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OK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7599807142854926E-2"/>
                  <c:y val="0.232445768754896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tx1"/>
                        </a:solidFill>
                      </a:rPr>
                      <a:t>4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39DA-412F-96AE-A81E6511EE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laims</c:v>
                </c:pt>
              </c:strCache>
            </c:strRef>
          </c:cat>
          <c:val>
            <c:numRef>
              <c:f>Sheet1!$D$2</c:f>
              <c:numCache>
                <c:formatCode>0.00%</c:formatCode>
                <c:ptCount val="1"/>
                <c:pt idx="0">
                  <c:v>4.44120470789034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9DA-412F-96AE-A81E6511EE2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M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5062950896933268E-2"/>
                  <c:y val="-0.15792889917421146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tx1"/>
                        </a:solidFill>
                      </a:rPr>
                      <a:t>3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39DA-412F-96AE-A81E6511EE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laims</c:v>
                </c:pt>
              </c:strCache>
            </c:strRef>
          </c:cat>
          <c:val>
            <c:numRef>
              <c:f>Sheet1!$E$2</c:f>
              <c:numCache>
                <c:formatCode>0.00%</c:formatCode>
                <c:ptCount val="1"/>
                <c:pt idx="0">
                  <c:v>2.51573445222771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9DA-412F-96AE-A81E6511EE2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T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7110665444533085E-2"/>
                  <c:y val="-0.18899687933963011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39DA-412F-96AE-A81E6511EE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laims</c:v>
                </c:pt>
              </c:strCache>
            </c:strRef>
          </c:cat>
          <c:val>
            <c:numRef>
              <c:f>Sheet1!$F$2</c:f>
              <c:numCache>
                <c:formatCode>0.00%</c:formatCode>
                <c:ptCount val="1"/>
                <c:pt idx="0">
                  <c:v>7.218291078476690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9DA-412F-96AE-A81E6511EE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0"/>
        <c:overlap val="100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  <c:axId val="1299605824"/>
        <c:axId val="1299586144"/>
      </c:barChart>
      <c:catAx>
        <c:axId val="12996058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9586144"/>
        <c:crosses val="autoZero"/>
        <c:auto val="1"/>
        <c:lblAlgn val="ctr"/>
        <c:lblOffset val="100"/>
        <c:noMultiLvlLbl val="0"/>
      </c:catAx>
      <c:valAx>
        <c:axId val="1299586144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1299605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Estimated Savings</a:t>
            </a:r>
            <a:r>
              <a:rPr lang="en-US" sz="1400" baseline="0"/>
              <a:t> by Rule categories</a:t>
            </a:r>
            <a:endParaRPr lang="en-US" sz="14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47282015909667396"/>
          <c:y val="0.1141406179785545"/>
          <c:w val="0.47182258393876653"/>
          <c:h val="0.8448354296794268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ADJ_SAVINGS_AMNT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335118A-D68C-49CD-B8C8-21F2A243066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F1B1-4D16-8E17-779A9AE6958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7125B68-B7DD-4BF9-87F4-7B8A80E5C7C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F1B1-4D16-8E17-779A9AE6958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8CDB4F7-6408-4193-8E75-31D5402C816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F1B1-4D16-8E17-779A9AE6958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32DE9223-88EF-49AB-B94C-3FBB805D050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F1B1-4D16-8E17-779A9AE6958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78D774D-FE88-4C7F-82C3-434010E3206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F1B1-4D16-8E17-779A9AE6958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14892FB8-EC9B-43A7-B75D-78E69E93CF7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F1B1-4D16-8E17-779A9AE6958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934BD90C-AFDE-41DE-B370-93CB429FE10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F1B1-4D16-8E17-779A9AE6958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4075A6F6-FFEF-4EA7-93CF-8EEA4C98361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F1B1-4D16-8E17-779A9AE6958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52522CCB-04BF-4A28-82B6-747190153CE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F1B1-4D16-8E17-779A9AE6958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DD21C9AD-94E3-4814-8F34-A8BDBE956B9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F1B1-4D16-8E17-779A9AE6958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2401E7DD-5EA6-4255-8D55-967BECE5C26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F1B1-4D16-8E17-779A9AE695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Other </c:v>
                </c:pt>
                <c:pt idx="1">
                  <c:v>GSP - Coding Validation:Surgery/EM:Post-Op:090</c:v>
                </c:pt>
                <c:pt idx="2">
                  <c:v>Global Surgery:CMS Surgery/Surgery:Post-Op:010</c:v>
                </c:pt>
                <c:pt idx="3">
                  <c:v>Global Surgery:Surgery/EM:Post-Op:090</c:v>
                </c:pt>
                <c:pt idx="4">
                  <c:v>Global Surgery:Surgery/EM:Pre-Op:090</c:v>
                </c:pt>
                <c:pt idx="5">
                  <c:v>Global Surgery:CMS Surgery/Surgery:Post-Op:090</c:v>
                </c:pt>
                <c:pt idx="6">
                  <c:v>OB:Global:Date Range Deny</c:v>
                </c:pt>
                <c:pt idx="7">
                  <c:v>GSP - Coding Validation:CMS Surgery / Surgery:Post-Op:010</c:v>
                </c:pt>
                <c:pt idx="8">
                  <c:v>CCI:NCCI:Table-Based:Col1/Col2</c:v>
                </c:pt>
                <c:pt idx="9">
                  <c:v>GSP - Coding Validation:CMS Surgery / Surgery:Post-Op:090</c:v>
                </c:pt>
                <c:pt idx="10">
                  <c:v>CCI Coding Validation:NCCI:Narrative:Col 1/Col 2</c:v>
                </c:pt>
              </c:strCache>
            </c:strRef>
          </c:cat>
          <c:val>
            <c:numRef>
              <c:f>Sheet1!$B$2:$B$12</c:f>
              <c:numCache>
                <c:formatCode>0.00</c:formatCode>
                <c:ptCount val="11"/>
                <c:pt idx="0" formatCode="General">
                  <c:v>616432.04</c:v>
                </c:pt>
                <c:pt idx="1">
                  <c:v>90947.540000000212</c:v>
                </c:pt>
                <c:pt idx="2">
                  <c:v>103338.18000000004</c:v>
                </c:pt>
                <c:pt idx="3">
                  <c:v>110550.72999999985</c:v>
                </c:pt>
                <c:pt idx="4">
                  <c:v>118840.87000000004</c:v>
                </c:pt>
                <c:pt idx="5">
                  <c:v>396553.71999999962</c:v>
                </c:pt>
                <c:pt idx="6">
                  <c:v>451538.98999999987</c:v>
                </c:pt>
                <c:pt idx="7">
                  <c:v>833464.45</c:v>
                </c:pt>
                <c:pt idx="8">
                  <c:v>1217597.3900000043</c:v>
                </c:pt>
                <c:pt idx="9" formatCode="General">
                  <c:v>1748142.78</c:v>
                </c:pt>
                <c:pt idx="10" formatCode="General">
                  <c:v>1790191.5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C$2:$C$12</c15:f>
                <c15:dlblRangeCache>
                  <c:ptCount val="11"/>
                  <c:pt idx="0">
                    <c:v>$616.7k(8%)</c:v>
                  </c:pt>
                  <c:pt idx="1">
                    <c:v>$90.9k (1%)</c:v>
                  </c:pt>
                  <c:pt idx="2">
                    <c:v>$103.4k (1%)</c:v>
                  </c:pt>
                  <c:pt idx="3">
                    <c:v>$110.5k (1%)</c:v>
                  </c:pt>
                  <c:pt idx="4">
                    <c:v>$118.8k (2%)</c:v>
                  </c:pt>
                  <c:pt idx="5">
                    <c:v>$396.5k (5%)</c:v>
                  </c:pt>
                  <c:pt idx="6">
                    <c:v>$451.5k (6%)</c:v>
                  </c:pt>
                  <c:pt idx="7">
                    <c:v>$833.4k (11%)</c:v>
                  </c:pt>
                  <c:pt idx="8">
                    <c:v>$1.2M (16%)</c:v>
                  </c:pt>
                  <c:pt idx="9">
                    <c:v>$1.7M (23%)</c:v>
                  </c:pt>
                  <c:pt idx="10">
                    <c:v>$1.8M (24%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FD16-4066-8719-1B915D9BF86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avings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strRef>
              <c:f>Sheet1!$A$2:$A$12</c:f>
              <c:strCache>
                <c:ptCount val="11"/>
                <c:pt idx="0">
                  <c:v>Other </c:v>
                </c:pt>
                <c:pt idx="1">
                  <c:v>GSP - Coding Validation:Surgery/EM:Post-Op:090</c:v>
                </c:pt>
                <c:pt idx="2">
                  <c:v>Global Surgery:CMS Surgery/Surgery:Post-Op:010</c:v>
                </c:pt>
                <c:pt idx="3">
                  <c:v>Global Surgery:Surgery/EM:Post-Op:090</c:v>
                </c:pt>
                <c:pt idx="4">
                  <c:v>Global Surgery:Surgery/EM:Pre-Op:090</c:v>
                </c:pt>
                <c:pt idx="5">
                  <c:v>Global Surgery:CMS Surgery/Surgery:Post-Op:090</c:v>
                </c:pt>
                <c:pt idx="6">
                  <c:v>OB:Global:Date Range Deny</c:v>
                </c:pt>
                <c:pt idx="7">
                  <c:v>GSP - Coding Validation:CMS Surgery / Surgery:Post-Op:010</c:v>
                </c:pt>
                <c:pt idx="8">
                  <c:v>CCI:NCCI:Table-Based:Col1/Col2</c:v>
                </c:pt>
                <c:pt idx="9">
                  <c:v>GSP - Coding Validation:CMS Surgery / Surgery:Post-Op:090</c:v>
                </c:pt>
                <c:pt idx="10">
                  <c:v>CCI Coding Validation:NCCI:Narrative:Col 1/Col 2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 formatCode="0%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16-4066-8719-1B915D9BF8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97"/>
        <c:axId val="1627617839"/>
        <c:axId val="1627617359"/>
      </c:barChart>
      <c:catAx>
        <c:axId val="162761783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7617359"/>
        <c:crosses val="autoZero"/>
        <c:auto val="1"/>
        <c:lblAlgn val="ctr"/>
        <c:lblOffset val="100"/>
        <c:noMultiLvlLbl val="0"/>
      </c:catAx>
      <c:valAx>
        <c:axId val="16276173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6276178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9991004327813561E-2"/>
          <c:y val="0.11466013219215082"/>
          <c:w val="0.92843983813943531"/>
          <c:h val="0.7148093409800426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umitative_savings 2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12h–24h</c:v>
                </c:pt>
                <c:pt idx="1">
                  <c:v>1–2 days</c:v>
                </c:pt>
                <c:pt idx="2">
                  <c:v>2–3 days</c:v>
                </c:pt>
                <c:pt idx="3">
                  <c:v>3–4 days</c:v>
                </c:pt>
                <c:pt idx="4">
                  <c:v>4–5 days</c:v>
                </c:pt>
                <c:pt idx="5">
                  <c:v>5–6 days</c:v>
                </c:pt>
                <c:pt idx="6">
                  <c:v>6–7 days</c:v>
                </c:pt>
                <c:pt idx="7">
                  <c:v>7–8 days</c:v>
                </c:pt>
                <c:pt idx="8">
                  <c:v>8–10 days</c:v>
                </c:pt>
                <c:pt idx="9">
                  <c:v>10–30 days</c:v>
                </c:pt>
                <c:pt idx="10">
                  <c:v>30–60 days</c:v>
                </c:pt>
                <c:pt idx="11">
                  <c:v>60–120 days</c:v>
                </c:pt>
                <c:pt idx="12">
                  <c:v>120–180 days</c:v>
                </c:pt>
                <c:pt idx="13">
                  <c:v>6 months–1 year</c:v>
                </c:pt>
                <c:pt idx="14">
                  <c:v>1–5.92 years</c:v>
                </c:pt>
              </c:strCache>
            </c:strRef>
          </c:cat>
          <c:val>
            <c:numRef>
              <c:f>Sheet1!$B$2:$B$16</c:f>
              <c:numCache>
                <c:formatCode>"$"#,##0.00</c:formatCode>
                <c:ptCount val="15"/>
                <c:pt idx="0" formatCode="General">
                  <c:v>0</c:v>
                </c:pt>
                <c:pt idx="1">
                  <c:v>337485.97999999637</c:v>
                </c:pt>
                <c:pt idx="2">
                  <c:v>751613.8499999959</c:v>
                </c:pt>
                <c:pt idx="3">
                  <c:v>1063107.7999999959</c:v>
                </c:pt>
                <c:pt idx="4">
                  <c:v>1286439.9199999962</c:v>
                </c:pt>
                <c:pt idx="5">
                  <c:v>1475749.0599999959</c:v>
                </c:pt>
                <c:pt idx="6">
                  <c:v>1653112.0599999961</c:v>
                </c:pt>
                <c:pt idx="7">
                  <c:v>1816742.9399999962</c:v>
                </c:pt>
                <c:pt idx="8">
                  <c:v>1967822.1599999962</c:v>
                </c:pt>
                <c:pt idx="9">
                  <c:v>2153820.4099999964</c:v>
                </c:pt>
                <c:pt idx="10">
                  <c:v>3520060.1999999909</c:v>
                </c:pt>
                <c:pt idx="11">
                  <c:v>4312036.4299999932</c:v>
                </c:pt>
                <c:pt idx="12">
                  <c:v>5477403.3199999975</c:v>
                </c:pt>
                <c:pt idx="13">
                  <c:v>5933664.379999998</c:v>
                </c:pt>
                <c:pt idx="14">
                  <c:v>6746657.03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E4-490C-8458-C4390AE18E0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um of ADJ_SAVINGS_AMN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3357716924683183E-3"/>
                  <c:y val="-5.9609918793219974E-2"/>
                </c:manualLayout>
              </c:layout>
              <c:tx>
                <c:rich>
                  <a:bodyPr/>
                  <a:lstStyle/>
                  <a:p>
                    <a:fld id="{AC639D2E-E3CD-4F51-8E85-40BA9527A97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147F-4C9B-A3B4-C3F430A000C9}"/>
                </c:ext>
              </c:extLst>
            </c:dLbl>
            <c:dLbl>
              <c:idx val="1"/>
              <c:layout>
                <c:manualLayout>
                  <c:x val="1.1678418298829648E-3"/>
                  <c:y val="-5.7126172176835813E-2"/>
                </c:manualLayout>
              </c:layout>
              <c:tx>
                <c:rich>
                  <a:bodyPr/>
                  <a:lstStyle/>
                  <a:p>
                    <a:fld id="{C61D7BB7-62A5-45BD-A349-9FC555DE120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147F-4C9B-A3B4-C3F430A000C9}"/>
                </c:ext>
              </c:extLst>
            </c:dLbl>
            <c:dLbl>
              <c:idx val="2"/>
              <c:layout>
                <c:manualLayout>
                  <c:x val="3.5036135223512829E-3"/>
                  <c:y val="-6.2093665409604135E-2"/>
                </c:manualLayout>
              </c:layout>
              <c:tx>
                <c:rich>
                  <a:bodyPr/>
                  <a:lstStyle/>
                  <a:p>
                    <a:fld id="{2226ABE9-A606-4EA6-B17A-41AC793B3B3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147F-4C9B-A3B4-C3F430A000C9}"/>
                </c:ext>
              </c:extLst>
            </c:dLbl>
            <c:dLbl>
              <c:idx val="3"/>
              <c:layout>
                <c:manualLayout>
                  <c:x val="2.3357716924683183E-3"/>
                  <c:y val="-6.7061158642372359E-2"/>
                </c:manualLayout>
              </c:layout>
              <c:tx>
                <c:rich>
                  <a:bodyPr/>
                  <a:lstStyle/>
                  <a:p>
                    <a:fld id="{BABF9AA8-25B8-463C-8AC9-5DEE48F4BF9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147F-4C9B-A3B4-C3F430A000C9}"/>
                </c:ext>
              </c:extLst>
            </c:dLbl>
            <c:dLbl>
              <c:idx val="4"/>
              <c:layout>
                <c:manualLayout>
                  <c:x val="2.3357716924682771E-3"/>
                  <c:y val="-6.954490525875652E-2"/>
                </c:manualLayout>
              </c:layout>
              <c:tx>
                <c:rich>
                  <a:bodyPr/>
                  <a:lstStyle/>
                  <a:p>
                    <a:fld id="{1BB7AA77-F3F5-40B8-B711-0AFE332899A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147F-4C9B-A3B4-C3F430A000C9}"/>
                </c:ext>
              </c:extLst>
            </c:dLbl>
            <c:dLbl>
              <c:idx val="5"/>
              <c:layout>
                <c:manualLayout>
                  <c:x val="2.3855982020200865E-3"/>
                  <c:y val="-8.8645779227154026E-2"/>
                </c:manualLayout>
              </c:layout>
              <c:tx>
                <c:rich>
                  <a:bodyPr/>
                  <a:lstStyle/>
                  <a:p>
                    <a:fld id="{84911CB2-7F97-4395-B098-F9847748001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147F-4C9B-A3B4-C3F430A000C9}"/>
                </c:ext>
              </c:extLst>
            </c:dLbl>
            <c:dLbl>
              <c:idx val="6"/>
              <c:layout>
                <c:manualLayout>
                  <c:x val="2.3574833921192568E-3"/>
                  <c:y val="-8.3053263438632896E-2"/>
                </c:manualLayout>
              </c:layout>
              <c:tx>
                <c:rich>
                  <a:bodyPr/>
                  <a:lstStyle/>
                  <a:p>
                    <a:fld id="{EDC0C7F9-D4D7-487F-A839-069B8E3ADA0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147F-4C9B-A3B4-C3F430A000C9}"/>
                </c:ext>
              </c:extLst>
            </c:dLbl>
            <c:dLbl>
              <c:idx val="7"/>
              <c:layout>
                <c:manualLayout>
                  <c:x val="0"/>
                  <c:y val="-5.7126172176835716E-2"/>
                </c:manualLayout>
              </c:layout>
              <c:tx>
                <c:rich>
                  <a:bodyPr/>
                  <a:lstStyle/>
                  <a:p>
                    <a:fld id="{394EE6BF-BA4B-4F10-AC65-29337C15EAC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147F-4C9B-A3B4-C3F430A000C9}"/>
                </c:ext>
              </c:extLst>
            </c:dLbl>
            <c:dLbl>
              <c:idx val="8"/>
              <c:layout>
                <c:manualLayout>
                  <c:x val="-8.1986843038614089E-17"/>
                  <c:y val="-6.2093665409604044E-2"/>
                </c:manualLayout>
              </c:layout>
              <c:tx>
                <c:rich>
                  <a:bodyPr/>
                  <a:lstStyle/>
                  <a:p>
                    <a:fld id="{F089EC32-5D03-41B8-A4F4-1C3815E7056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147F-4C9B-A3B4-C3F430A000C9}"/>
                </c:ext>
              </c:extLst>
            </c:dLbl>
            <c:dLbl>
              <c:idx val="9"/>
              <c:layout>
                <c:manualLayout>
                  <c:x val="0"/>
                  <c:y val="-0.12412280094239479"/>
                </c:manualLayout>
              </c:layout>
              <c:tx>
                <c:rich>
                  <a:bodyPr/>
                  <a:lstStyle/>
                  <a:p>
                    <a:fld id="{8F071CFB-D366-47B3-8B7A-D4F9B8C0C7A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147F-4C9B-A3B4-C3F430A000C9}"/>
                </c:ext>
              </c:extLst>
            </c:dLbl>
            <c:dLbl>
              <c:idx val="10"/>
              <c:layout>
                <c:manualLayout>
                  <c:x val="-8.4047678381569421E-17"/>
                  <c:y val="-0.10164900201096271"/>
                </c:manualLayout>
              </c:layout>
              <c:tx>
                <c:rich>
                  <a:bodyPr/>
                  <a:lstStyle/>
                  <a:p>
                    <a:fld id="{AE1EE94B-D844-45D1-B883-31606AE8321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147F-4C9B-A3B4-C3F430A000C9}"/>
                </c:ext>
              </c:extLst>
            </c:dLbl>
            <c:dLbl>
              <c:idx val="11"/>
              <c:layout>
                <c:manualLayout>
                  <c:x val="-1.1678671124073614E-3"/>
                  <c:y val="-0.11503726640030121"/>
                </c:manualLayout>
              </c:layout>
              <c:tx>
                <c:rich>
                  <a:bodyPr/>
                  <a:lstStyle/>
                  <a:p>
                    <a:fld id="{B11D642D-D074-4D11-BE93-5466FD5AD74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147F-4C9B-A3B4-C3F430A000C9}"/>
                </c:ext>
              </c:extLst>
            </c:dLbl>
            <c:dLbl>
              <c:idx val="12"/>
              <c:layout>
                <c:manualLayout>
                  <c:x val="0"/>
                  <c:y val="-6.2093665409604044E-2"/>
                </c:manualLayout>
              </c:layout>
              <c:tx>
                <c:rich>
                  <a:bodyPr/>
                  <a:lstStyle/>
                  <a:p>
                    <a:fld id="{7CF78D5B-72CB-407A-8F76-BA1CB4FA7BA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147F-4C9B-A3B4-C3F430A000C9}"/>
                </c:ext>
              </c:extLst>
            </c:dLbl>
            <c:dLbl>
              <c:idx val="13"/>
              <c:layout>
                <c:manualLayout>
                  <c:x val="-2.3357716924683183E-3"/>
                  <c:y val="-7.451239849152487E-2"/>
                </c:manualLayout>
              </c:layout>
              <c:tx>
                <c:rich>
                  <a:bodyPr/>
                  <a:lstStyle/>
                  <a:p>
                    <a:fld id="{E667B5BA-4D9C-4FA8-B732-8E499B7BCE6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147F-4C9B-A3B4-C3F430A000C9}"/>
                </c:ext>
              </c:extLst>
            </c:dLbl>
            <c:dLbl>
              <c:idx val="14"/>
              <c:layout>
                <c:manualLayout>
                  <c:x val="-1.1461179451027429E-3"/>
                  <c:y val="-9.613679835093504E-2"/>
                </c:manualLayout>
              </c:layout>
              <c:tx>
                <c:rich>
                  <a:bodyPr/>
                  <a:lstStyle/>
                  <a:p>
                    <a:fld id="{4E270B37-9240-4139-B199-BEACE25A040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147F-4C9B-A3B4-C3F430A000C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45720" rIns="38100" bIns="19050" anchor="ctr" anchorCtr="0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12h–24h</c:v>
                </c:pt>
                <c:pt idx="1">
                  <c:v>1–2 days</c:v>
                </c:pt>
                <c:pt idx="2">
                  <c:v>2–3 days</c:v>
                </c:pt>
                <c:pt idx="3">
                  <c:v>3–4 days</c:v>
                </c:pt>
                <c:pt idx="4">
                  <c:v>4–5 days</c:v>
                </c:pt>
                <c:pt idx="5">
                  <c:v>5–6 days</c:v>
                </c:pt>
                <c:pt idx="6">
                  <c:v>6–7 days</c:v>
                </c:pt>
                <c:pt idx="7">
                  <c:v>7–8 days</c:v>
                </c:pt>
                <c:pt idx="8">
                  <c:v>8–10 days</c:v>
                </c:pt>
                <c:pt idx="9">
                  <c:v>10–30 days</c:v>
                </c:pt>
                <c:pt idx="10">
                  <c:v>30–60 days</c:v>
                </c:pt>
                <c:pt idx="11">
                  <c:v>60–120 days</c:v>
                </c:pt>
                <c:pt idx="12">
                  <c:v>120–180 days</c:v>
                </c:pt>
                <c:pt idx="13">
                  <c:v>6 months–1 year</c:v>
                </c:pt>
                <c:pt idx="14">
                  <c:v>1–5.92 years</c:v>
                </c:pt>
              </c:strCache>
            </c:strRef>
          </c:cat>
          <c:val>
            <c:numRef>
              <c:f>Sheet1!$C$2:$C$16</c:f>
              <c:numCache>
                <c:formatCode>"$"#,##0.00</c:formatCode>
                <c:ptCount val="15"/>
                <c:pt idx="0">
                  <c:v>337485.97999999637</c:v>
                </c:pt>
                <c:pt idx="1">
                  <c:v>414127.86999999947</c:v>
                </c:pt>
                <c:pt idx="2">
                  <c:v>311493.94999999995</c:v>
                </c:pt>
                <c:pt idx="3">
                  <c:v>223332.12000000046</c:v>
                </c:pt>
                <c:pt idx="4">
                  <c:v>189309.13999999961</c:v>
                </c:pt>
                <c:pt idx="5">
                  <c:v>177363.0000000002</c:v>
                </c:pt>
                <c:pt idx="6">
                  <c:v>163630.88000000018</c:v>
                </c:pt>
                <c:pt idx="7">
                  <c:v>151079.21999999991</c:v>
                </c:pt>
                <c:pt idx="8">
                  <c:v>185998.25000000003</c:v>
                </c:pt>
                <c:pt idx="9">
                  <c:v>1366239.7899999947</c:v>
                </c:pt>
                <c:pt idx="10">
                  <c:v>791976.23000000219</c:v>
                </c:pt>
                <c:pt idx="11">
                  <c:v>1165366.8900000046</c:v>
                </c:pt>
                <c:pt idx="12">
                  <c:v>456261.06000000017</c:v>
                </c:pt>
                <c:pt idx="13">
                  <c:v>812992.66000000073</c:v>
                </c:pt>
                <c:pt idx="14">
                  <c:v>713773.4299999986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D$2:$D$18</c15:f>
                <c15:dlblRangeCache>
                  <c:ptCount val="17"/>
                  <c:pt idx="0">
                    <c:v>$337.5k
(5%)</c:v>
                  </c:pt>
                  <c:pt idx="1">
                    <c:v>$751.6k
(10%)</c:v>
                  </c:pt>
                  <c:pt idx="2">
                    <c:v>$1.1M
(14%)</c:v>
                  </c:pt>
                  <c:pt idx="3">
                    <c:v>$1.3M
(17%)</c:v>
                  </c:pt>
                  <c:pt idx="4">
                    <c:v>$1.5M
(20%)</c:v>
                  </c:pt>
                  <c:pt idx="5">
                    <c:v>$1.7M
(22%)</c:v>
                  </c:pt>
                  <c:pt idx="6">
                    <c:v>$1.8M
(24%)</c:v>
                  </c:pt>
                  <c:pt idx="7">
                    <c:v>$2.0M
(26%)</c:v>
                  </c:pt>
                  <c:pt idx="8">
                    <c:v>$2.2M
(29%)</c:v>
                  </c:pt>
                  <c:pt idx="9">
                    <c:v>$3.5M
(47%)</c:v>
                  </c:pt>
                  <c:pt idx="10">
                    <c:v>$4.3M
(58%)</c:v>
                  </c:pt>
                  <c:pt idx="11">
                    <c:v>$5.5M
(73%)</c:v>
                  </c:pt>
                  <c:pt idx="12">
                    <c:v>$5.9M
(80%)</c:v>
                  </c:pt>
                  <c:pt idx="13">
                    <c:v>$6.7M
(90%)</c:v>
                  </c:pt>
                  <c:pt idx="14">
                    <c:v>$7.4M
(100%)</c:v>
                  </c:pt>
                  <c:pt idx="15">
                    <c:v>$6.5M
(100%)</c:v>
                  </c:pt>
                  <c:pt idx="16">
                    <c:v>$6.5M
(100%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1-AEE4-490C-8458-C4390AE18E0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erce_saving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12h–24h</c:v>
                </c:pt>
                <c:pt idx="1">
                  <c:v>1–2 days</c:v>
                </c:pt>
                <c:pt idx="2">
                  <c:v>2–3 days</c:v>
                </c:pt>
                <c:pt idx="3">
                  <c:v>3–4 days</c:v>
                </c:pt>
                <c:pt idx="4">
                  <c:v>4–5 days</c:v>
                </c:pt>
                <c:pt idx="5">
                  <c:v>5–6 days</c:v>
                </c:pt>
                <c:pt idx="6">
                  <c:v>6–7 days</c:v>
                </c:pt>
                <c:pt idx="7">
                  <c:v>7–8 days</c:v>
                </c:pt>
                <c:pt idx="8">
                  <c:v>8–10 days</c:v>
                </c:pt>
                <c:pt idx="9">
                  <c:v>10–30 days</c:v>
                </c:pt>
                <c:pt idx="10">
                  <c:v>30–60 days</c:v>
                </c:pt>
                <c:pt idx="11">
                  <c:v>60–120 days</c:v>
                </c:pt>
                <c:pt idx="12">
                  <c:v>120–180 days</c:v>
                </c:pt>
                <c:pt idx="13">
                  <c:v>6 months–1 year</c:v>
                </c:pt>
                <c:pt idx="14">
                  <c:v>1–5.92 years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E4-490C-8458-C4390AE18E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4658208"/>
        <c:axId val="4651008"/>
      </c:barChart>
      <c:catAx>
        <c:axId val="46582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651008"/>
        <c:crosses val="autoZero"/>
        <c:auto val="1"/>
        <c:lblAlgn val="ctr"/>
        <c:lblOffset val="100"/>
        <c:noMultiLvlLbl val="0"/>
      </c:catAx>
      <c:valAx>
        <c:axId val="4651008"/>
        <c:scaling>
          <c:orientation val="minMax"/>
          <c:max val="8000000"/>
        </c:scaling>
        <c:delete val="1"/>
        <c:axPos val="l"/>
        <c:numFmt formatCode="General" sourceLinked="1"/>
        <c:majorTickMark val="none"/>
        <c:minorTickMark val="none"/>
        <c:tickLblPos val="low"/>
        <c:crossAx val="4658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5836492062381984E-2"/>
          <c:y val="0.13049176144648586"/>
          <c:w val="0.96229571590724461"/>
          <c:h val="0.7198173665791776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umitative_claims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12h–24h</c:v>
                </c:pt>
                <c:pt idx="1">
                  <c:v>1–2 days</c:v>
                </c:pt>
                <c:pt idx="2">
                  <c:v>2–3 days</c:v>
                </c:pt>
                <c:pt idx="3">
                  <c:v>3–4 days</c:v>
                </c:pt>
                <c:pt idx="4">
                  <c:v>4–5 days</c:v>
                </c:pt>
                <c:pt idx="5">
                  <c:v>5–6 days</c:v>
                </c:pt>
                <c:pt idx="6">
                  <c:v>6–7 days</c:v>
                </c:pt>
                <c:pt idx="7">
                  <c:v>7–8 days</c:v>
                </c:pt>
                <c:pt idx="8">
                  <c:v>8–10 days</c:v>
                </c:pt>
                <c:pt idx="9">
                  <c:v>10–30 days</c:v>
                </c:pt>
                <c:pt idx="10">
                  <c:v>30–60 days</c:v>
                </c:pt>
                <c:pt idx="11">
                  <c:v>60–120 days</c:v>
                </c:pt>
                <c:pt idx="12">
                  <c:v>120–180 days</c:v>
                </c:pt>
                <c:pt idx="13">
                  <c:v>6 months–1 year</c:v>
                </c:pt>
                <c:pt idx="14">
                  <c:v>1–5.92 years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</c:v>
                </c:pt>
                <c:pt idx="1">
                  <c:v>6527</c:v>
                </c:pt>
                <c:pt idx="2">
                  <c:v>13727</c:v>
                </c:pt>
                <c:pt idx="3">
                  <c:v>17621</c:v>
                </c:pt>
                <c:pt idx="4">
                  <c:v>21181</c:v>
                </c:pt>
                <c:pt idx="5">
                  <c:v>23369</c:v>
                </c:pt>
                <c:pt idx="6">
                  <c:v>25268</c:v>
                </c:pt>
                <c:pt idx="7">
                  <c:v>27218</c:v>
                </c:pt>
                <c:pt idx="8">
                  <c:v>28991</c:v>
                </c:pt>
                <c:pt idx="9">
                  <c:v>31134</c:v>
                </c:pt>
                <c:pt idx="10">
                  <c:v>42139</c:v>
                </c:pt>
                <c:pt idx="11">
                  <c:v>46869</c:v>
                </c:pt>
                <c:pt idx="12">
                  <c:v>51131</c:v>
                </c:pt>
                <c:pt idx="13">
                  <c:v>53962</c:v>
                </c:pt>
                <c:pt idx="14">
                  <c:v>575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7A-4189-B039-F3170717463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unt of CLAIM_NUMB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9.3835666375036542E-2"/>
                </c:manualLayout>
              </c:layout>
              <c:tx>
                <c:rich>
                  <a:bodyPr/>
                  <a:lstStyle/>
                  <a:p>
                    <a:fld id="{E4DE1CA1-848B-4E96-85D7-CD6A1F11EA7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6C7A-4189-B039-F31707174634}"/>
                </c:ext>
              </c:extLst>
            </c:dLbl>
            <c:dLbl>
              <c:idx val="1"/>
              <c:layout>
                <c:manualLayout>
                  <c:x val="0"/>
                  <c:y val="-0.10058070866141733"/>
                </c:manualLayout>
              </c:layout>
              <c:tx>
                <c:rich>
                  <a:bodyPr/>
                  <a:lstStyle/>
                  <a:p>
                    <a:fld id="{EEB03F20-7DE0-4C03-8050-39467ABB9B2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6C7A-4189-B039-F31707174634}"/>
                </c:ext>
              </c:extLst>
            </c:dLbl>
            <c:dLbl>
              <c:idx val="2"/>
              <c:layout>
                <c:manualLayout>
                  <c:x val="8.6299741240644027E-4"/>
                  <c:y val="-9.0655438903470401E-2"/>
                </c:manualLayout>
              </c:layout>
              <c:tx>
                <c:rich>
                  <a:bodyPr/>
                  <a:lstStyle/>
                  <a:p>
                    <a:fld id="{DBA5A1E9-6B86-40AB-9D05-C4F7B540B114}" type="CELLRANGE">
                      <a:rPr lang="en-US" dirty="0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6C7A-4189-B039-F31707174634}"/>
                </c:ext>
              </c:extLst>
            </c:dLbl>
            <c:dLbl>
              <c:idx val="3"/>
              <c:layout>
                <c:manualLayout>
                  <c:x val="0"/>
                  <c:y val="-8.5629556722076408E-2"/>
                </c:manualLayout>
              </c:layout>
              <c:tx>
                <c:rich>
                  <a:bodyPr/>
                  <a:lstStyle/>
                  <a:p>
                    <a:fld id="{DED56A0E-7118-4BD6-956B-E5288F1338C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6C7A-4189-B039-F31707174634}"/>
                </c:ext>
              </c:extLst>
            </c:dLbl>
            <c:dLbl>
              <c:idx val="4"/>
              <c:layout>
                <c:manualLayout>
                  <c:x val="1.5624402638879176E-3"/>
                  <c:y val="-8.8992417614464858E-2"/>
                </c:manualLayout>
              </c:layout>
              <c:tx>
                <c:rich>
                  <a:bodyPr/>
                  <a:lstStyle/>
                  <a:p>
                    <a:fld id="{259C7579-3048-4817-9833-0AB5853AF63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6C7A-4189-B039-F31707174634}"/>
                </c:ext>
              </c:extLst>
            </c:dLbl>
            <c:dLbl>
              <c:idx val="5"/>
              <c:layout>
                <c:manualLayout>
                  <c:x val="1.1842319975755445E-3"/>
                  <c:y val="-7.4418227810948256E-2"/>
                </c:manualLayout>
              </c:layout>
              <c:tx>
                <c:rich>
                  <a:bodyPr/>
                  <a:lstStyle/>
                  <a:p>
                    <a:fld id="{D29EBA78-613A-4B83-B368-42096948A60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6C7A-4189-B039-F31707174634}"/>
                </c:ext>
              </c:extLst>
            </c:dLbl>
            <c:dLbl>
              <c:idx val="6"/>
              <c:layout>
                <c:manualLayout>
                  <c:x val="0"/>
                  <c:y val="-8.4331723164632957E-2"/>
                </c:manualLayout>
              </c:layout>
              <c:tx>
                <c:rich>
                  <a:bodyPr/>
                  <a:lstStyle/>
                  <a:p>
                    <a:fld id="{3718E637-2BDB-4BC1-AB3E-6E571B41304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6C7A-4189-B039-F31707174634}"/>
                </c:ext>
              </c:extLst>
            </c:dLbl>
            <c:dLbl>
              <c:idx val="7"/>
              <c:layout>
                <c:manualLayout>
                  <c:x val="-1.5624705271460007E-3"/>
                  <c:y val="-6.3870566302866763E-2"/>
                </c:manualLayout>
              </c:layout>
              <c:tx>
                <c:rich>
                  <a:bodyPr/>
                  <a:lstStyle/>
                  <a:p>
                    <a:fld id="{0E98B33D-A518-4ECE-8DD2-E50C44F600F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6C7A-4189-B039-F31707174634}"/>
                </c:ext>
              </c:extLst>
            </c:dLbl>
            <c:dLbl>
              <c:idx val="8"/>
              <c:layout>
                <c:manualLayout>
                  <c:x val="0"/>
                  <c:y val="-6.7463828294320488E-2"/>
                </c:manualLayout>
              </c:layout>
              <c:tx>
                <c:rich>
                  <a:bodyPr/>
                  <a:lstStyle/>
                  <a:p>
                    <a:fld id="{FD6E4506-41EE-40D5-9E44-66808A8E02C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6C7A-4189-B039-F31707174634}"/>
                </c:ext>
              </c:extLst>
            </c:dLbl>
            <c:dLbl>
              <c:idx val="9"/>
              <c:layout>
                <c:manualLayout>
                  <c:x val="0"/>
                  <c:y val="-0.12946267133275011"/>
                </c:manualLayout>
              </c:layout>
              <c:tx>
                <c:rich>
                  <a:bodyPr/>
                  <a:lstStyle/>
                  <a:p>
                    <a:fld id="{7D339FB4-5703-4513-8E8D-F4A15B6CA1D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6C7A-4189-B039-F31707174634}"/>
                </c:ext>
              </c:extLst>
            </c:dLbl>
            <c:dLbl>
              <c:idx val="10"/>
              <c:layout>
                <c:manualLayout>
                  <c:x val="1.1842319975755012E-3"/>
                  <c:y val="-8.9848716827063288E-2"/>
                </c:manualLayout>
              </c:layout>
              <c:tx>
                <c:rich>
                  <a:bodyPr/>
                  <a:lstStyle/>
                  <a:p>
                    <a:fld id="{6AF925E0-E33E-4C33-9C44-4B90DFE733A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6C7A-4189-B039-F31707174634}"/>
                </c:ext>
              </c:extLst>
            </c:dLbl>
            <c:dLbl>
              <c:idx val="11"/>
              <c:layout>
                <c:manualLayout>
                  <c:x val="0"/>
                  <c:y val="-7.293926800816565E-2"/>
                </c:manualLayout>
              </c:layout>
              <c:tx>
                <c:rich>
                  <a:bodyPr/>
                  <a:lstStyle/>
                  <a:p>
                    <a:fld id="{76290049-9324-4A75-9205-6DCF6C6C8CA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6C7A-4189-B039-F31707174634}"/>
                </c:ext>
              </c:extLst>
            </c:dLbl>
            <c:dLbl>
              <c:idx val="12"/>
              <c:layout>
                <c:manualLayout>
                  <c:x val="-1.1842319975755881E-3"/>
                  <c:y val="-8.1636045494313206E-2"/>
                </c:manualLayout>
              </c:layout>
              <c:tx>
                <c:rich>
                  <a:bodyPr/>
                  <a:lstStyle/>
                  <a:p>
                    <a:fld id="{F1B50D25-688F-47F3-BF27-A30438C3AC6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6C7A-4189-B039-F31707174634}"/>
                </c:ext>
              </c:extLst>
            </c:dLbl>
            <c:dLbl>
              <c:idx val="13"/>
              <c:layout>
                <c:manualLayout>
                  <c:x val="1.1842319975755881E-3"/>
                  <c:y val="-6.2504374453193359E-2"/>
                </c:manualLayout>
              </c:layout>
              <c:tx>
                <c:rich>
                  <a:bodyPr/>
                  <a:lstStyle/>
                  <a:p>
                    <a:fld id="{01A5DB06-3EBB-4DD2-999C-390D88A6E9B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6C7A-4189-B039-F31707174634}"/>
                </c:ext>
              </c:extLst>
            </c:dLbl>
            <c:dLbl>
              <c:idx val="14"/>
              <c:layout>
                <c:manualLayout>
                  <c:x val="-4.7369279903023524E-3"/>
                  <c:y val="-5.8635170603674541E-2"/>
                </c:manualLayout>
              </c:layout>
              <c:tx>
                <c:rich>
                  <a:bodyPr/>
                  <a:lstStyle/>
                  <a:p>
                    <a:fld id="{F0D9B523-7C9A-4A5B-9AF4-5DB089C1EF4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6C7A-4189-B039-F3170717463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12h–24h</c:v>
                </c:pt>
                <c:pt idx="1">
                  <c:v>1–2 days</c:v>
                </c:pt>
                <c:pt idx="2">
                  <c:v>2–3 days</c:v>
                </c:pt>
                <c:pt idx="3">
                  <c:v>3–4 days</c:v>
                </c:pt>
                <c:pt idx="4">
                  <c:v>4–5 days</c:v>
                </c:pt>
                <c:pt idx="5">
                  <c:v>5–6 days</c:v>
                </c:pt>
                <c:pt idx="6">
                  <c:v>6–7 days</c:v>
                </c:pt>
                <c:pt idx="7">
                  <c:v>7–8 days</c:v>
                </c:pt>
                <c:pt idx="8">
                  <c:v>8–10 days</c:v>
                </c:pt>
                <c:pt idx="9">
                  <c:v>10–30 days</c:v>
                </c:pt>
                <c:pt idx="10">
                  <c:v>30–60 days</c:v>
                </c:pt>
                <c:pt idx="11">
                  <c:v>60–120 days</c:v>
                </c:pt>
                <c:pt idx="12">
                  <c:v>120–180 days</c:v>
                </c:pt>
                <c:pt idx="13">
                  <c:v>6 months–1 year</c:v>
                </c:pt>
                <c:pt idx="14">
                  <c:v>1–5.92 years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6527</c:v>
                </c:pt>
                <c:pt idx="1">
                  <c:v>7200</c:v>
                </c:pt>
                <c:pt idx="2">
                  <c:v>3894</c:v>
                </c:pt>
                <c:pt idx="3">
                  <c:v>3560</c:v>
                </c:pt>
                <c:pt idx="4">
                  <c:v>2188</c:v>
                </c:pt>
                <c:pt idx="5">
                  <c:v>1899</c:v>
                </c:pt>
                <c:pt idx="6">
                  <c:v>1950</c:v>
                </c:pt>
                <c:pt idx="7">
                  <c:v>1773</c:v>
                </c:pt>
                <c:pt idx="8">
                  <c:v>2143</c:v>
                </c:pt>
                <c:pt idx="9">
                  <c:v>11005</c:v>
                </c:pt>
                <c:pt idx="10">
                  <c:v>4730</c:v>
                </c:pt>
                <c:pt idx="11">
                  <c:v>4262</c:v>
                </c:pt>
                <c:pt idx="12">
                  <c:v>2831</c:v>
                </c:pt>
                <c:pt idx="13">
                  <c:v>3594</c:v>
                </c:pt>
                <c:pt idx="14">
                  <c:v>131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D$2:$D$18</c15:f>
                <c15:dlblRangeCache>
                  <c:ptCount val="17"/>
                  <c:pt idx="0">
                    <c:v>6.53k
(12%)</c:v>
                  </c:pt>
                  <c:pt idx="1">
                    <c:v>13.73k
(24%)</c:v>
                  </c:pt>
                  <c:pt idx="2">
                    <c:v>17.62k
(31%)</c:v>
                  </c:pt>
                  <c:pt idx="3">
                    <c:v>21.18k
(37%)</c:v>
                  </c:pt>
                  <c:pt idx="4">
                    <c:v>23.37k
(41%)</c:v>
                  </c:pt>
                  <c:pt idx="5">
                    <c:v>25.27k
(44%)</c:v>
                  </c:pt>
                  <c:pt idx="6">
                    <c:v>27.22k
(47%)</c:v>
                  </c:pt>
                  <c:pt idx="7">
                    <c:v>28.99k
(50%)</c:v>
                  </c:pt>
                  <c:pt idx="8">
                    <c:v>31.13k
(54%)</c:v>
                  </c:pt>
                  <c:pt idx="9">
                    <c:v>42.14k
(73%)</c:v>
                  </c:pt>
                  <c:pt idx="10">
                    <c:v>46.87k
(80%)</c:v>
                  </c:pt>
                  <c:pt idx="11">
                    <c:v>51.13k
(87%)</c:v>
                  </c:pt>
                  <c:pt idx="12">
                    <c:v>53.96k
(92%)</c:v>
                  </c:pt>
                  <c:pt idx="13">
                    <c:v>57.56k
(98%)</c:v>
                  </c:pt>
                  <c:pt idx="14">
                    <c:v>58.87k
(100%)</c:v>
                  </c:pt>
                  <c:pt idx="15">
                    <c:v>56.20k
(100%)</c:v>
                  </c:pt>
                  <c:pt idx="16">
                    <c:v>56.25k
(100%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2-6C7A-4189-B039-F3170717463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erceCLumi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12h–24h</c:v>
                </c:pt>
                <c:pt idx="1">
                  <c:v>1–2 days</c:v>
                </c:pt>
                <c:pt idx="2">
                  <c:v>2–3 days</c:v>
                </c:pt>
                <c:pt idx="3">
                  <c:v>3–4 days</c:v>
                </c:pt>
                <c:pt idx="4">
                  <c:v>4–5 days</c:v>
                </c:pt>
                <c:pt idx="5">
                  <c:v>5–6 days</c:v>
                </c:pt>
                <c:pt idx="6">
                  <c:v>6–7 days</c:v>
                </c:pt>
                <c:pt idx="7">
                  <c:v>7–8 days</c:v>
                </c:pt>
                <c:pt idx="8">
                  <c:v>8–10 days</c:v>
                </c:pt>
                <c:pt idx="9">
                  <c:v>10–30 days</c:v>
                </c:pt>
                <c:pt idx="10">
                  <c:v>30–60 days</c:v>
                </c:pt>
                <c:pt idx="11">
                  <c:v>60–120 days</c:v>
                </c:pt>
                <c:pt idx="12">
                  <c:v>120–180 days</c:v>
                </c:pt>
                <c:pt idx="13">
                  <c:v>6 months–1 year</c:v>
                </c:pt>
                <c:pt idx="14">
                  <c:v>1–5.92 years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6C7A-4189-B039-F317071746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80388336"/>
        <c:axId val="880387856"/>
      </c:barChart>
      <c:catAx>
        <c:axId val="880388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0387856"/>
        <c:crosses val="autoZero"/>
        <c:auto val="1"/>
        <c:lblAlgn val="ctr"/>
        <c:lblOffset val="100"/>
        <c:noMultiLvlLbl val="0"/>
      </c:catAx>
      <c:valAx>
        <c:axId val="8803878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80388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Distribution by Claim Types</a:t>
            </a:r>
          </a:p>
        </c:rich>
      </c:tx>
      <c:layout>
        <c:manualLayout>
          <c:xMode val="edge"/>
          <c:yMode val="edge"/>
          <c:x val="0.31084411722562"/>
          <c:y val="5.41777133588187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2842822533930613E-2"/>
          <c:y val="0.20120883489971492"/>
          <c:w val="0.79876898948504538"/>
          <c:h val="0.56526173698565907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BE86E33E-89CB-481A-BBEE-12CD9AD27957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r>
                      <a:rPr lang="en-US">
                        <a:solidFill>
                          <a:schemeClr val="bg1"/>
                        </a:solidFill>
                      </a:rPr>
                      <a:t>($632M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D57E-4E8E-A65E-780CDF8F9B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st Saving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7E-4E8E-A65E-780CDF8F9B0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4041189128893071E-2"/>
                  <c:y val="7.6737994733477467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55A8892-F41B-43EA-8CE0-401F027CA25C}" type="VALUE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/>
                      </a:pPr>
                      <a:t>[VALUE]</a:t>
                    </a:fld>
                    <a:r>
                      <a:rPr lang="en-US">
                        <a:solidFill>
                          <a:schemeClr val="bg1"/>
                        </a:solidFill>
                      </a:rPr>
                      <a:t>($263M)</a:t>
                    </a:r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D57E-4E8E-A65E-780CDF8F9B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st Savings</c:v>
                </c:pt>
              </c:strCache>
            </c:strRef>
          </c:cat>
          <c:val>
            <c:numRef>
              <c:f>Sheet1!$C$2</c:f>
              <c:numCache>
                <c:formatCode>0.00</c:formatCode>
                <c:ptCount val="1"/>
                <c:pt idx="0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7E-4E8E-A65E-780CDF8F9B0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4793339901987028E-2"/>
                  <c:y val="0.31462577840725775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tx1"/>
                        </a:solidFill>
                      </a:rPr>
                      <a:t>6% $53M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D57E-4E8E-A65E-780CDF8F9B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st Savings</c:v>
                </c:pt>
              </c:strCache>
            </c:strRef>
          </c:cat>
          <c:val>
            <c:numRef>
              <c:f>Sheet1!$D$2</c:f>
              <c:numCache>
                <c:formatCode>0.00%</c:formatCode>
                <c:ptCount val="1"/>
                <c:pt idx="0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57E-4E8E-A65E-780CDF8F9B0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0275551025894336"/>
                  <c:y val="-0.29605699639029309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tx1"/>
                        </a:solidFill>
                      </a:rPr>
                      <a:t>0.5% ($5M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D57E-4E8E-A65E-780CDF8F9B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st Savings</c:v>
                </c:pt>
              </c:strCache>
            </c:strRef>
          </c:cat>
          <c:val>
            <c:numRef>
              <c:f>Sheet1!$E$2</c:f>
              <c:numCache>
                <c:formatCode>0.0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57E-4E8E-A65E-780CDF8F9B0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A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4011317298203736E-2"/>
                  <c:y val="-0.15062762011913125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0.2% ($2M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D57E-4E8E-A65E-780CDF8F9B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st Savings</c:v>
                </c:pt>
              </c:strCache>
            </c:strRef>
          </c:cat>
          <c:val>
            <c:numRef>
              <c:f>Sheet1!$F$2</c:f>
              <c:numCache>
                <c:formatCode>0.00%</c:formatCode>
                <c:ptCount val="1"/>
                <c:pt idx="0">
                  <c:v>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57E-4E8E-A65E-780CDF8F9B0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F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4353597730747889E-2"/>
                  <c:y val="0.22254018472708464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0.1%</a:t>
                    </a:r>
                    <a:r>
                      <a:rPr lang="en-US" baseline="0"/>
                      <a:t> </a:t>
                    </a:r>
                    <a:r>
                      <a:rPr lang="en-US"/>
                      <a:t>$1.1M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D57E-4E8E-A65E-780CDF8F9B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st Savings</c:v>
                </c:pt>
              </c:strCache>
            </c:strRef>
          </c:cat>
          <c:val>
            <c:numRef>
              <c:f>Sheet1!$G$2</c:f>
              <c:numCache>
                <c:formatCode>0.00%</c:formatCode>
                <c:ptCount val="1"/>
                <c:pt idx="0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57E-4E8E-A65E-780CDF8F9B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0"/>
        <c:overlap val="100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  <c:axId val="1299605824"/>
        <c:axId val="1299586144"/>
      </c:barChart>
      <c:catAx>
        <c:axId val="12996058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9586144"/>
        <c:crosses val="autoZero"/>
        <c:auto val="1"/>
        <c:lblAlgn val="ctr"/>
        <c:lblOffset val="100"/>
        <c:noMultiLvlLbl val="0"/>
      </c:catAx>
      <c:valAx>
        <c:axId val="1299586144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1299605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14333277693522"/>
          <c:y val="5.5152815678677101E-2"/>
          <c:w val="0.78082082295307775"/>
          <c:h val="0.7266658145971468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BE86E33E-89CB-481A-BBEE-12CD9AD27957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r>
                      <a:rPr lang="en-US">
                        <a:solidFill>
                          <a:schemeClr val="bg1"/>
                        </a:solidFill>
                      </a:rPr>
                      <a:t>(7.5M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8180-4DF8-B8F3-A7FFDCC369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dit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80-4DF8-B8F3-A7FFDCC3696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55A8892-F41B-43EA-8CE0-401F027CA25C}" type="VALUE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/>
                      </a:pPr>
                      <a:t>[VALUE]</a:t>
                    </a:fld>
                    <a:r>
                      <a:rPr lang="en-US">
                        <a:solidFill>
                          <a:schemeClr val="bg1"/>
                        </a:solidFill>
                      </a:rPr>
                      <a:t>(1.1M)</a:t>
                    </a: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8180-4DF8-B8F3-A7FFDCC369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dits</c:v>
                </c:pt>
              </c:strCache>
            </c:strRef>
          </c:cat>
          <c:val>
            <c:numRef>
              <c:f>Sheet1!$C$2</c:f>
              <c:numCache>
                <c:formatCode>0.00%</c:formatCode>
                <c:ptCount val="1"/>
                <c:pt idx="0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180-4DF8-B8F3-A7FFDCC3696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8736455696315992E-2"/>
                  <c:y val="0.34635430097038761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tx1"/>
                        </a:solidFill>
                      </a:rPr>
                      <a:t> 0%</a:t>
                    </a:r>
                    <a:r>
                      <a:rPr lang="en-US" baseline="0" dirty="0">
                        <a:solidFill>
                          <a:schemeClr val="tx1"/>
                        </a:solidFill>
                      </a:rPr>
                      <a:t> </a:t>
                    </a:r>
                    <a:r>
                      <a:rPr lang="en-US" dirty="0">
                        <a:solidFill>
                          <a:schemeClr val="tx1"/>
                        </a:solidFill>
                      </a:rPr>
                      <a:t> 17K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8180-4DF8-B8F3-A7FFDCC369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dits</c:v>
                </c:pt>
              </c:strCache>
            </c:strRef>
          </c:cat>
          <c:val>
            <c:numRef>
              <c:f>Sheet1!$D$2</c:f>
              <c:numCache>
                <c:formatCode>0.0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180-4DF8-B8F3-A7FFDCC3696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5062966216491369E-2"/>
                  <c:y val="-0.32879120484872404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tx1"/>
                        </a:solidFill>
                      </a:rPr>
                      <a:t>0%</a:t>
                    </a:r>
                    <a:r>
                      <a:rPr lang="en-US" baseline="0">
                        <a:solidFill>
                          <a:schemeClr val="tx1"/>
                        </a:solidFill>
                      </a:rPr>
                      <a:t> </a:t>
                    </a:r>
                    <a:r>
                      <a:rPr lang="en-US">
                        <a:solidFill>
                          <a:schemeClr val="tx1"/>
                        </a:solidFill>
                      </a:rPr>
                      <a:t>9K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8180-4DF8-B8F3-A7FFDCC369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dits</c:v>
                </c:pt>
              </c:strCache>
            </c:strRef>
          </c:cat>
          <c:val>
            <c:numRef>
              <c:f>Sheet1!$E$2</c:f>
              <c:numCache>
                <c:formatCode>0.0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180-4DF8-B8F3-A7FFDCC3696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A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3023993885289042E-2"/>
                  <c:y val="-0.18899724123807199"/>
                </c:manualLayout>
              </c:layout>
              <c:tx>
                <c:rich>
                  <a:bodyPr/>
                  <a:lstStyle/>
                  <a:p>
                    <a:r>
                      <a:rPr lang="en-US" baseline="0" dirty="0"/>
                      <a:t>0% 3k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8180-4DF8-B8F3-A7FFDCC369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dits</c:v>
                </c:pt>
              </c:strCache>
            </c:strRef>
          </c:cat>
          <c:val>
            <c:numRef>
              <c:f>Sheet1!$F$2</c:f>
              <c:numCache>
                <c:formatCode>0.0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180-4DF8-B8F3-A7FFDCC3696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F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0013179027580026E-2"/>
                  <c:y val="0.15187765477581228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0%</a:t>
                    </a:r>
                    <a:r>
                      <a:rPr lang="en-US" baseline="0" dirty="0"/>
                      <a:t> </a:t>
                    </a:r>
                    <a:r>
                      <a:rPr lang="en-US" dirty="0"/>
                      <a:t>1k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8180-4DF8-B8F3-A7FFDCC369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dits</c:v>
                </c:pt>
              </c:strCache>
            </c:strRef>
          </c:cat>
          <c:val>
            <c:numRef>
              <c:f>Sheet1!$G$2</c:f>
              <c:numCache>
                <c:formatCode>0.0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180-4DF8-B8F3-A7FFDCC369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0"/>
        <c:overlap val="100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  <c:axId val="1299605824"/>
        <c:axId val="1299586144"/>
      </c:barChart>
      <c:catAx>
        <c:axId val="12996058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9586144"/>
        <c:crosses val="autoZero"/>
        <c:auto val="1"/>
        <c:lblAlgn val="ctr"/>
        <c:lblOffset val="100"/>
        <c:noMultiLvlLbl val="0"/>
      </c:catAx>
      <c:valAx>
        <c:axId val="1299586144"/>
        <c:scaling>
          <c:orientation val="minMax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1299605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Distribution</a:t>
            </a:r>
            <a:r>
              <a:rPr lang="en-US" sz="1400" baseline="0"/>
              <a:t> by All Edits</a:t>
            </a:r>
            <a:endParaRPr lang="en-US" sz="1400"/>
          </a:p>
        </c:rich>
      </c:tx>
      <c:layout>
        <c:manualLayout>
          <c:xMode val="edge"/>
          <c:yMode val="edge"/>
          <c:x val="0.36149803034573386"/>
          <c:y val="0.108705907018187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T OS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1100" dirty="0">
                        <a:solidFill>
                          <a:schemeClr val="bg1"/>
                        </a:solidFill>
                      </a:rPr>
                      <a:t>83%($4.7B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77058975302192"/>
                      <c:h val="0.25692679378702449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0-0408-40C4-913B-D5A2017AE9CC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Saving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832199897765988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408-40C4-913B-D5A2017AE9C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S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396184847856463E-3"/>
                  <c:y val="9.5093333732675419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00" dirty="0">
                        <a:solidFill>
                          <a:schemeClr val="bg1"/>
                        </a:solidFill>
                      </a:rPr>
                      <a:t>17%($ 1B)</a:t>
                    </a: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5774386853009417"/>
                      <c:h val="0.22839846353133214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2-0408-40C4-913B-D5A2017AE9CC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Savings</c:v>
                </c:pt>
              </c:strCache>
            </c:strRef>
          </c:cat>
          <c:val>
            <c:numRef>
              <c:f>Sheet1!$C$2</c:f>
              <c:numCache>
                <c:formatCode>0.00</c:formatCode>
                <c:ptCount val="1"/>
                <c:pt idx="0">
                  <c:v>0.170900102233999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408-40C4-913B-D5A2017AE9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99605824"/>
        <c:axId val="1299586144"/>
      </c:barChart>
      <c:catAx>
        <c:axId val="12996058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9586144"/>
        <c:crosses val="autoZero"/>
        <c:auto val="1"/>
        <c:lblAlgn val="ctr"/>
        <c:lblOffset val="100"/>
        <c:noMultiLvlLbl val="0"/>
      </c:catAx>
      <c:valAx>
        <c:axId val="1299586144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299605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t OS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bg1"/>
                        </a:solidFill>
                      </a:rPr>
                      <a:t>86%</a:t>
                    </a:r>
                    <a:r>
                      <a:rPr lang="en-US" baseline="0" dirty="0">
                        <a:solidFill>
                          <a:schemeClr val="bg1"/>
                        </a:solidFill>
                      </a:rPr>
                      <a:t> </a:t>
                    </a:r>
                    <a:r>
                      <a:rPr lang="en-US" dirty="0">
                        <a:solidFill>
                          <a:schemeClr val="bg1"/>
                        </a:solidFill>
                      </a:rPr>
                      <a:t>(55M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4C69-461A-8719-64E560660AEF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dit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86408312768908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69-461A-8719-64E560660AE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S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6.4632579990514518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00" dirty="0">
                        <a:solidFill>
                          <a:schemeClr val="bg1"/>
                        </a:solidFill>
                      </a:rPr>
                      <a:t>14%</a:t>
                    </a:r>
                    <a:r>
                      <a:rPr lang="en-US" sz="1000" baseline="0" dirty="0">
                        <a:solidFill>
                          <a:schemeClr val="bg1"/>
                        </a:solidFill>
                      </a:rPr>
                      <a:t> </a:t>
                    </a:r>
                    <a:r>
                      <a:rPr lang="en-US" sz="1000" dirty="0">
                        <a:solidFill>
                          <a:schemeClr val="bg1"/>
                        </a:solidFill>
                      </a:rPr>
                      <a:t>(8.7M)</a:t>
                    </a: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969297248908344"/>
                      <c:h val="0.23511481302808798"/>
                    </c:manualLayout>
                  </c15:layout>
                  <c15:showDataLabelsRange val="1"/>
                </c:ext>
                <c:ext xmlns:c16="http://schemas.microsoft.com/office/drawing/2014/chart" uri="{C3380CC4-5D6E-409C-BE32-E72D297353CC}">
                  <c16:uniqueId val="{00000002-4C69-461A-8719-64E560660AEF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dits</c:v>
                </c:pt>
              </c:strCache>
            </c:strRef>
          </c:cat>
          <c:val>
            <c:numRef>
              <c:f>Sheet1!$C$2</c:f>
              <c:numCache>
                <c:formatCode>0.00</c:formatCode>
                <c:ptCount val="1"/>
                <c:pt idx="0">
                  <c:v>0.1360000000000000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C$2</c15:f>
                <c15:dlblRangeCache>
                  <c:ptCount val="1"/>
                  <c:pt idx="0">
                    <c:v>0.14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3-4C69-461A-8719-64E560660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99605824"/>
        <c:axId val="1299586144"/>
      </c:barChart>
      <c:catAx>
        <c:axId val="12996058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9586144"/>
        <c:crosses val="autoZero"/>
        <c:auto val="1"/>
        <c:lblAlgn val="ctr"/>
        <c:lblOffset val="100"/>
        <c:noMultiLvlLbl val="0"/>
      </c:catAx>
      <c:valAx>
        <c:axId val="1299586144"/>
        <c:scaling>
          <c:orientation val="minMax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1299605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Annual Savings</a:t>
            </a:r>
            <a:r>
              <a:rPr lang="en-US" sz="1400" baseline="0"/>
              <a:t> by Top 10 DP keys</a:t>
            </a:r>
            <a:endParaRPr lang="en-US" sz="1400"/>
          </a:p>
        </c:rich>
      </c:tx>
      <c:layout>
        <c:manualLayout>
          <c:xMode val="edge"/>
          <c:yMode val="edge"/>
          <c:x val="0.31290772320763455"/>
          <c:y val="4.718230888280778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39143758143905383"/>
          <c:y val="0.1141406179785545"/>
          <c:w val="0.55320519794341405"/>
          <c:h val="0.8448354296794268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ADJ_SAVINGS_AMNT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7518331-2BAE-4559-96E1-2460BDF2702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F1B1-4D16-8E17-779A9AE6958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F47AC902-F7DA-412A-8B8A-0D6B4673DD5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F1B1-4D16-8E17-779A9AE6958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3941B94-9A1D-4A0F-AA08-8154126E5C4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F1B1-4D16-8E17-779A9AE6958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678573E-2686-4669-A32E-C550FEFA65D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F1B1-4D16-8E17-779A9AE6958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186A35E-9746-438D-A05B-38499374FA4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F1B1-4D16-8E17-779A9AE6958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9DAA40C-8419-4269-A3B8-FE1B09007C1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F1B1-4D16-8E17-779A9AE6958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5153F82A-4B2A-4029-ADA5-8515BC9368C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F1B1-4D16-8E17-779A9AE6958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E0A97F28-3A69-49FC-A0DE-D1788BAB87E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F1B1-4D16-8E17-779A9AE6958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757950C3-33F8-42C4-8893-4B8F9DEE5A8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F1B1-4D16-8E17-779A9AE6958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FB3D43C4-E6A0-4609-85F4-00C9550717C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F1B1-4D16-8E17-779A9AE6958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632E724B-726F-4F01-A92A-A6F12C7025B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F1B1-4D16-8E17-779A9AE695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Other </c:v>
                </c:pt>
                <c:pt idx="1">
                  <c:v>4629</c:v>
                </c:pt>
                <c:pt idx="2">
                  <c:v>6357</c:v>
                </c:pt>
                <c:pt idx="3">
                  <c:v>3278</c:v>
                </c:pt>
                <c:pt idx="4">
                  <c:v>8082</c:v>
                </c:pt>
                <c:pt idx="5">
                  <c:v>8389</c:v>
                </c:pt>
                <c:pt idx="6">
                  <c:v>7949</c:v>
                </c:pt>
                <c:pt idx="7">
                  <c:v>3324</c:v>
                </c:pt>
                <c:pt idx="8">
                  <c:v>9082</c:v>
                </c:pt>
                <c:pt idx="9">
                  <c:v>71</c:v>
                </c:pt>
                <c:pt idx="10">
                  <c:v>18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 formatCode="#,##0.00">
                  <c:v>79393712.790000007</c:v>
                </c:pt>
                <c:pt idx="1">
                  <c:v>3160917.1954999994</c:v>
                </c:pt>
                <c:pt idx="2">
                  <c:v>3297519.9649000005</c:v>
                </c:pt>
                <c:pt idx="3">
                  <c:v>3466825.1436999966</c:v>
                </c:pt>
                <c:pt idx="4">
                  <c:v>3612378.3542000018</c:v>
                </c:pt>
                <c:pt idx="5">
                  <c:v>3989877.6365000005</c:v>
                </c:pt>
                <c:pt idx="6">
                  <c:v>4216562.6463999981</c:v>
                </c:pt>
                <c:pt idx="7">
                  <c:v>7086607.2080999976</c:v>
                </c:pt>
                <c:pt idx="8">
                  <c:v>8539923.8683999982</c:v>
                </c:pt>
                <c:pt idx="9">
                  <c:v>13951874.179499989</c:v>
                </c:pt>
                <c:pt idx="10">
                  <c:v>14480154.053100007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C$2:$C$12</c15:f>
                <c15:dlblRangeCache>
                  <c:ptCount val="11"/>
                  <c:pt idx="0">
                    <c:v>$79.3M(55%)</c:v>
                  </c:pt>
                  <c:pt idx="1">
                    <c:v>$3.2M (2%)</c:v>
                  </c:pt>
                  <c:pt idx="2">
                    <c:v>$3.3M (2%)</c:v>
                  </c:pt>
                  <c:pt idx="3">
                    <c:v>$3.5M (2%)</c:v>
                  </c:pt>
                  <c:pt idx="4">
                    <c:v>$3.6M (2%)</c:v>
                  </c:pt>
                  <c:pt idx="5">
                    <c:v>$4.0M (3%)</c:v>
                  </c:pt>
                  <c:pt idx="6">
                    <c:v>$4.2M (3%)</c:v>
                  </c:pt>
                  <c:pt idx="7">
                    <c:v>$7.1M (5%)</c:v>
                  </c:pt>
                  <c:pt idx="8">
                    <c:v>$8.5M (6%)</c:v>
                  </c:pt>
                  <c:pt idx="9">
                    <c:v>$14.0M (10%)</c:v>
                  </c:pt>
                  <c:pt idx="10">
                    <c:v>$14.5M (10%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FD16-4066-8719-1B915D9BF86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avings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strRef>
              <c:f>Sheet1!$A$2:$A$12</c:f>
              <c:strCache>
                <c:ptCount val="11"/>
                <c:pt idx="0">
                  <c:v>Other </c:v>
                </c:pt>
                <c:pt idx="1">
                  <c:v>4629</c:v>
                </c:pt>
                <c:pt idx="2">
                  <c:v>6357</c:v>
                </c:pt>
                <c:pt idx="3">
                  <c:v>3278</c:v>
                </c:pt>
                <c:pt idx="4">
                  <c:v>8082</c:v>
                </c:pt>
                <c:pt idx="5">
                  <c:v>8389</c:v>
                </c:pt>
                <c:pt idx="6">
                  <c:v>7949</c:v>
                </c:pt>
                <c:pt idx="7">
                  <c:v>3324</c:v>
                </c:pt>
                <c:pt idx="8">
                  <c:v>9082</c:v>
                </c:pt>
                <c:pt idx="9">
                  <c:v>71</c:v>
                </c:pt>
                <c:pt idx="10">
                  <c:v>18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 formatCode="0%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16-4066-8719-1B915D9BF8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97"/>
        <c:axId val="1627617839"/>
        <c:axId val="1627617359"/>
      </c:barChart>
      <c:catAx>
        <c:axId val="162761783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7617359"/>
        <c:crosses val="autoZero"/>
        <c:auto val="1"/>
        <c:lblAlgn val="ctr"/>
        <c:lblOffset val="100"/>
        <c:noMultiLvlLbl val="0"/>
      </c:catAx>
      <c:valAx>
        <c:axId val="1627617359"/>
        <c:scaling>
          <c:orientation val="minMax"/>
        </c:scaling>
        <c:delete val="1"/>
        <c:axPos val="b"/>
        <c:numFmt formatCode="#,##0.00" sourceLinked="1"/>
        <c:majorTickMark val="none"/>
        <c:minorTickMark val="none"/>
        <c:tickLblPos val="nextTo"/>
        <c:crossAx val="16276178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Annual Savings</a:t>
            </a:r>
            <a:r>
              <a:rPr lang="en-US" sz="1400" baseline="0"/>
              <a:t> by Top 10 Clients</a:t>
            </a:r>
            <a:endParaRPr lang="en-US" sz="14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9665578948702153"/>
          <c:y val="8.4341359018654902E-2"/>
          <c:w val="0.78064253551406571"/>
          <c:h val="0.8746348650474511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ADJ_SAVINGS_AMNT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1745227436244536E-3"/>
                  <c:y val="0"/>
                </c:manualLayout>
              </c:layout>
              <c:tx>
                <c:rich>
                  <a:bodyPr/>
                  <a:lstStyle/>
                  <a:p>
                    <a:fld id="{87846299-FCB0-4F10-BF84-0DD8DDDBE53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745E-4BFE-9F1A-9ED6213D502A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6178ED4-2A3D-4331-838E-B28F90A305D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745E-4BFE-9F1A-9ED6213D502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CFAA7DB-51FF-42D7-954C-3C43696C70C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745E-4BFE-9F1A-9ED6213D502A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D1B50EA-D979-43B2-8979-3D2D0944CC7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745E-4BFE-9F1A-9ED6213D502A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C24AD524-9AAB-4EA6-8290-C8CE998022C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745E-4BFE-9F1A-9ED6213D502A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90E70CB6-7406-4F71-8DCB-88ABB548779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745E-4BFE-9F1A-9ED6213D502A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1066BD7-2C3E-49C2-90C6-085A70B14F8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745E-4BFE-9F1A-9ED6213D502A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D69F3E4-AE89-4FA7-914A-91F7E0B265A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745E-4BFE-9F1A-9ED6213D502A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1A1F405-E5AB-48FD-AA82-932D8C3C7FD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745E-4BFE-9F1A-9ED6213D502A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886CAC14-C959-4004-9E49-6A191785F9D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745E-4BFE-9F1A-9ED6213D502A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FE380C4A-244D-4B4C-8004-26E4AFB14D8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745E-4BFE-9F1A-9ED6213D502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Other </c:v>
                </c:pt>
                <c:pt idx="1">
                  <c:v>SAMNJ</c:v>
                </c:pt>
                <c:pt idx="2">
                  <c:v>ANWCA</c:v>
                </c:pt>
                <c:pt idx="3">
                  <c:v>AMGIN</c:v>
                </c:pt>
                <c:pt idx="4">
                  <c:v>HFTRT</c:v>
                </c:pt>
                <c:pt idx="5">
                  <c:v>HUMCH</c:v>
                </c:pt>
                <c:pt idx="6">
                  <c:v>WELEX</c:v>
                </c:pt>
                <c:pt idx="7">
                  <c:v>OSCAR</c:v>
                </c:pt>
                <c:pt idx="8">
                  <c:v>HUMCP</c:v>
                </c:pt>
                <c:pt idx="9">
                  <c:v>AETMR</c:v>
                </c:pt>
                <c:pt idx="10">
                  <c:v>AETCM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 formatCode="#,##0.00">
                  <c:v>81661828.170000002</c:v>
                </c:pt>
                <c:pt idx="1">
                  <c:v>2120642.5464000003</c:v>
                </c:pt>
                <c:pt idx="2">
                  <c:v>2157266.5494000008</c:v>
                </c:pt>
                <c:pt idx="3">
                  <c:v>2375724.131800001</c:v>
                </c:pt>
                <c:pt idx="4">
                  <c:v>4293807.6432000017</c:v>
                </c:pt>
                <c:pt idx="5">
                  <c:v>5083787.0780999949</c:v>
                </c:pt>
                <c:pt idx="6">
                  <c:v>5437672.037200002</c:v>
                </c:pt>
                <c:pt idx="7">
                  <c:v>6247761.8417999987</c:v>
                </c:pt>
                <c:pt idx="8">
                  <c:v>6698668.1006000014</c:v>
                </c:pt>
                <c:pt idx="9">
                  <c:v>8833116.9887000117</c:v>
                </c:pt>
                <c:pt idx="10">
                  <c:v>20286077.94869998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C$2:$C$12</c15:f>
                <c15:dlblRangeCache>
                  <c:ptCount val="11"/>
                  <c:pt idx="0">
                    <c:v>$81.6M(56%)</c:v>
                  </c:pt>
                  <c:pt idx="1">
                    <c:v>$2.1M (1%)</c:v>
                  </c:pt>
                  <c:pt idx="2">
                    <c:v>$2.2M (1%)</c:v>
                  </c:pt>
                  <c:pt idx="3">
                    <c:v>$2.4M (2%)</c:v>
                  </c:pt>
                  <c:pt idx="4">
                    <c:v>$4.3M (3%)</c:v>
                  </c:pt>
                  <c:pt idx="5">
                    <c:v>$5.1M (4%)</c:v>
                  </c:pt>
                  <c:pt idx="6">
                    <c:v>$5.4M (4%)</c:v>
                  </c:pt>
                  <c:pt idx="7">
                    <c:v>$6.2M (4%)</c:v>
                  </c:pt>
                  <c:pt idx="8">
                    <c:v>$6.7M (5%)</c:v>
                  </c:pt>
                  <c:pt idx="9">
                    <c:v>$8.8M (6%)</c:v>
                  </c:pt>
                  <c:pt idx="10">
                    <c:v>$20.3M (14%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745E-4BFE-9F1A-9ED6213D502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avings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strRef>
              <c:f>Sheet1!$A$2:$A$12</c:f>
              <c:strCache>
                <c:ptCount val="11"/>
                <c:pt idx="0">
                  <c:v>Other </c:v>
                </c:pt>
                <c:pt idx="1">
                  <c:v>SAMNJ</c:v>
                </c:pt>
                <c:pt idx="2">
                  <c:v>ANWCA</c:v>
                </c:pt>
                <c:pt idx="3">
                  <c:v>AMGIN</c:v>
                </c:pt>
                <c:pt idx="4">
                  <c:v>HFTRT</c:v>
                </c:pt>
                <c:pt idx="5">
                  <c:v>HUMCH</c:v>
                </c:pt>
                <c:pt idx="6">
                  <c:v>WELEX</c:v>
                </c:pt>
                <c:pt idx="7">
                  <c:v>OSCAR</c:v>
                </c:pt>
                <c:pt idx="8">
                  <c:v>HUMCP</c:v>
                </c:pt>
                <c:pt idx="9">
                  <c:v>AETMR</c:v>
                </c:pt>
                <c:pt idx="10">
                  <c:v>AETCM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 formatCode="0%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45E-4BFE-9F1A-9ED6213D50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97"/>
        <c:axId val="1627617839"/>
        <c:axId val="1627617359"/>
      </c:barChart>
      <c:catAx>
        <c:axId val="162761783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7617359"/>
        <c:crosses val="autoZero"/>
        <c:auto val="1"/>
        <c:lblAlgn val="ctr"/>
        <c:lblOffset val="100"/>
        <c:noMultiLvlLbl val="0"/>
      </c:catAx>
      <c:valAx>
        <c:axId val="1627617359"/>
        <c:scaling>
          <c:orientation val="minMax"/>
        </c:scaling>
        <c:delete val="1"/>
        <c:axPos val="b"/>
        <c:numFmt formatCode="#,##0.00" sourceLinked="1"/>
        <c:majorTickMark val="none"/>
        <c:minorTickMark val="none"/>
        <c:tickLblPos val="nextTo"/>
        <c:crossAx val="16276178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965898692605641"/>
          <c:y val="0.3333171217533305"/>
          <c:w val="0.46087374807275272"/>
          <c:h val="0.47160252269999764"/>
        </c:manualLayout>
      </c:layout>
      <c:doughnutChart>
        <c:varyColors val="1"/>
        <c:ser>
          <c:idx val="0"/>
          <c:order val="0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ABF-4B79-B30D-57F115EBBAE7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ABF-4B79-B30D-57F115EBBAE7}"/>
              </c:ext>
            </c:extLst>
          </c:dPt>
          <c:cat>
            <c:strRef>
              <c:f>Sheet1!$B$2:$B$3</c:f>
              <c:strCache>
                <c:ptCount val="2"/>
                <c:pt idx="0">
                  <c:v>%Remaining</c:v>
                </c:pt>
                <c:pt idx="1">
                  <c:v>%Completed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 formatCode="0%">
                  <c:v>0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ABF-4B79-B30D-57F115EBBA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175294884490516"/>
          <c:y val="0.82541197232309182"/>
          <c:w val="0.81598993653141461"/>
          <c:h val="9.65319422016198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6510420767716534"/>
          <c:y val="4.2187497404804541E-2"/>
          <c:w val="0.63229170767716536"/>
          <c:h val="0.94843750317190556"/>
        </c:manualLayout>
      </c:layout>
      <c:doughnutChart>
        <c:varyColors val="1"/>
        <c:ser>
          <c:idx val="0"/>
          <c:order val="0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6C1-429A-8BB0-6D0E76E2356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6C1-429A-8BB0-6D0E76E23567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6C1-429A-8BB0-6D0E76E23567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6C1-429A-8BB0-6D0E76E23567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6C1-429A-8BB0-6D0E76E23567}"/>
              </c:ext>
            </c:extLst>
          </c:dPt>
          <c:dPt>
            <c:idx val="5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6C1-429A-8BB0-6D0E76E23567}"/>
              </c:ext>
            </c:extLst>
          </c:dPt>
          <c:dPt>
            <c:idx val="6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6C1-429A-8BB0-6D0E76E23567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6C1-429A-8BB0-6D0E76E23567}"/>
              </c:ext>
            </c:extLst>
          </c:dPt>
          <c:dPt>
            <c:idx val="8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6C1-429A-8BB0-6D0E76E23567}"/>
              </c:ext>
            </c:extLst>
          </c:dPt>
          <c:dPt>
            <c:idx val="9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6C1-429A-8BB0-6D0E76E23567}"/>
              </c:ext>
            </c:extLst>
          </c:dPt>
          <c:dPt>
            <c:idx val="1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6C1-429A-8BB0-6D0E76E23567}"/>
              </c:ext>
            </c:extLst>
          </c:dPt>
          <c:dPt>
            <c:idx val="1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B6C1-429A-8BB0-6D0E76E23567}"/>
              </c:ext>
            </c:extLst>
          </c:dPt>
          <c:dPt>
            <c:idx val="1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B6C1-429A-8BB0-6D0E76E23567}"/>
              </c:ext>
            </c:extLst>
          </c:dPt>
          <c:dPt>
            <c:idx val="1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B6C1-429A-8BB0-6D0E76E23567}"/>
              </c:ext>
            </c:extLst>
          </c:dPt>
          <c:dPt>
            <c:idx val="1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D-B6C1-429A-8BB0-6D0E76E23567}"/>
              </c:ext>
            </c:extLst>
          </c:dPt>
          <c:dPt>
            <c:idx val="15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F-B6C1-429A-8BB0-6D0E76E23567}"/>
              </c:ext>
            </c:extLst>
          </c:dPt>
          <c:dPt>
            <c:idx val="16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1-B6C1-429A-8BB0-6D0E76E23567}"/>
              </c:ext>
            </c:extLst>
          </c:dPt>
          <c:dPt>
            <c:idx val="17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3-B6C1-429A-8BB0-6D0E76E23567}"/>
              </c:ext>
            </c:extLst>
          </c:dPt>
          <c:dPt>
            <c:idx val="18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5-B6C1-429A-8BB0-6D0E76E23567}"/>
              </c:ext>
            </c:extLst>
          </c:dPt>
          <c:dPt>
            <c:idx val="19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7-B6C1-429A-8BB0-6D0E76E23567}"/>
              </c:ext>
            </c:extLst>
          </c:dPt>
          <c:dPt>
            <c:idx val="2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9-B6C1-429A-8BB0-6D0E76E23567}"/>
              </c:ext>
            </c:extLst>
          </c:dPt>
          <c:dPt>
            <c:idx val="2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B-B6C1-429A-8BB0-6D0E76E23567}"/>
              </c:ext>
            </c:extLst>
          </c:dPt>
          <c:dPt>
            <c:idx val="2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D-B6C1-429A-8BB0-6D0E76E23567}"/>
              </c:ext>
            </c:extLst>
          </c:dPt>
          <c:dPt>
            <c:idx val="2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F-B6C1-429A-8BB0-6D0E76E23567}"/>
              </c:ext>
            </c:extLst>
          </c:dPt>
          <c:dPt>
            <c:idx val="2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1-B6C1-429A-8BB0-6D0E76E23567}"/>
              </c:ext>
            </c:extLst>
          </c:dPt>
          <c:dPt>
            <c:idx val="25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3-B6C1-429A-8BB0-6D0E76E23567}"/>
              </c:ext>
            </c:extLst>
          </c:dPt>
          <c:dPt>
            <c:idx val="26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5-B6C1-429A-8BB0-6D0E76E23567}"/>
              </c:ext>
            </c:extLst>
          </c:dPt>
          <c:dPt>
            <c:idx val="27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7-B6C1-429A-8BB0-6D0E76E23567}"/>
              </c:ext>
            </c:extLst>
          </c:dPt>
          <c:dPt>
            <c:idx val="28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9-B6C1-429A-8BB0-6D0E76E23567}"/>
              </c:ext>
            </c:extLst>
          </c:dPt>
          <c:dPt>
            <c:idx val="29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B-B6C1-429A-8BB0-6D0E76E23567}"/>
              </c:ext>
            </c:extLst>
          </c:dPt>
          <c:dPt>
            <c:idx val="3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D-B6C1-429A-8BB0-6D0E76E23567}"/>
              </c:ext>
            </c:extLst>
          </c:dPt>
          <c:dPt>
            <c:idx val="3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F-B6C1-429A-8BB0-6D0E76E23567}"/>
              </c:ext>
            </c:extLst>
          </c:dPt>
          <c:dPt>
            <c:idx val="3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1-B6C1-429A-8BB0-6D0E76E23567}"/>
              </c:ext>
            </c:extLst>
          </c:dPt>
          <c:dPt>
            <c:idx val="3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3-B6C1-429A-8BB0-6D0E76E23567}"/>
              </c:ext>
            </c:extLst>
          </c:dPt>
          <c:dPt>
            <c:idx val="3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5-B6C1-429A-8BB0-6D0E76E23567}"/>
              </c:ext>
            </c:extLst>
          </c:dPt>
          <c:dPt>
            <c:idx val="35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7-B6C1-429A-8BB0-6D0E76E23567}"/>
              </c:ext>
            </c:extLst>
          </c:dPt>
          <c:dPt>
            <c:idx val="36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9-B6C1-429A-8BB0-6D0E76E23567}"/>
              </c:ext>
            </c:extLst>
          </c:dPt>
          <c:dPt>
            <c:idx val="37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B-B6C1-429A-8BB0-6D0E76E23567}"/>
              </c:ext>
            </c:extLst>
          </c:dPt>
          <c:dPt>
            <c:idx val="38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D-B6C1-429A-8BB0-6D0E76E23567}"/>
              </c:ext>
            </c:extLst>
          </c:dPt>
          <c:dPt>
            <c:idx val="39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F-B6C1-429A-8BB0-6D0E76E23567}"/>
              </c:ext>
            </c:extLst>
          </c:dPt>
          <c:dPt>
            <c:idx val="4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1-B6C1-429A-8BB0-6D0E76E23567}"/>
              </c:ext>
            </c:extLst>
          </c:dPt>
          <c:dPt>
            <c:idx val="4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3-B6C1-429A-8BB0-6D0E76E23567}"/>
              </c:ext>
            </c:extLst>
          </c:dPt>
          <c:dPt>
            <c:idx val="4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5-B6C1-429A-8BB0-6D0E76E23567}"/>
              </c:ext>
            </c:extLst>
          </c:dPt>
          <c:dPt>
            <c:idx val="4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7-B6C1-429A-8BB0-6D0E76E23567}"/>
              </c:ext>
            </c:extLst>
          </c:dPt>
          <c:dPt>
            <c:idx val="4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9-B6C1-429A-8BB0-6D0E76E23567}"/>
              </c:ext>
            </c:extLst>
          </c:dPt>
          <c:dPt>
            <c:idx val="45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B-B6C1-429A-8BB0-6D0E76E23567}"/>
              </c:ext>
            </c:extLst>
          </c:dPt>
          <c:dPt>
            <c:idx val="46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D-B6C1-429A-8BB0-6D0E76E23567}"/>
              </c:ext>
            </c:extLst>
          </c:dPt>
          <c:dPt>
            <c:idx val="47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F-B6C1-429A-8BB0-6D0E76E23567}"/>
              </c:ext>
            </c:extLst>
          </c:dPt>
          <c:dPt>
            <c:idx val="48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61-B6C1-429A-8BB0-6D0E76E23567}"/>
              </c:ext>
            </c:extLst>
          </c:dPt>
          <c:dPt>
            <c:idx val="49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63-B6C1-429A-8BB0-6D0E76E23567}"/>
              </c:ext>
            </c:extLst>
          </c:dPt>
          <c:dPt>
            <c:idx val="5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65-B6C1-429A-8BB0-6D0E76E23567}"/>
              </c:ext>
            </c:extLst>
          </c:dPt>
          <c:cat>
            <c:numRef>
              <c:f>Sheet1!$B$2:$B$52</c:f>
              <c:numCache>
                <c:formatCode>General</c:formatCode>
                <c:ptCount val="5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</c:numCache>
            </c:numRef>
          </c:cat>
          <c:val>
            <c:numRef>
              <c:f>Sheet1!$C$2:$C$52</c:f>
              <c:numCache>
                <c:formatCode>General</c:formatCode>
                <c:ptCount val="5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66-B6C1-429A-8BB0-6D0E76E235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647245796625103"/>
          <c:y val="0"/>
          <c:w val="0.63333353838582673"/>
          <c:h val="0.95000024913876424"/>
        </c:manualLayout>
      </c:layout>
      <c:doughnutChart>
        <c:varyColors val="1"/>
        <c:ser>
          <c:idx val="0"/>
          <c:order val="0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noFill/>
          </c:spPr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32E-4558-8B77-BD70B9DAB1AA}"/>
              </c:ext>
            </c:extLst>
          </c:dPt>
          <c:dPt>
            <c:idx val="1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32E-4558-8B77-BD70B9DAB1AA}"/>
              </c:ext>
            </c:extLst>
          </c:dPt>
          <c:dPt>
            <c:idx val="2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32E-4558-8B77-BD70B9DAB1AA}"/>
              </c:ext>
            </c:extLst>
          </c:dPt>
          <c:dPt>
            <c:idx val="3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32E-4558-8B77-BD70B9DAB1AA}"/>
              </c:ext>
            </c:extLst>
          </c:dPt>
          <c:dPt>
            <c:idx val="4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32E-4558-8B77-BD70B9DAB1AA}"/>
              </c:ext>
            </c:extLst>
          </c:dPt>
          <c:dPt>
            <c:idx val="5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32E-4558-8B77-BD70B9DAB1AA}"/>
              </c:ext>
            </c:extLst>
          </c:dPt>
          <c:dPt>
            <c:idx val="6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132E-4558-8B77-BD70B9DAB1AA}"/>
              </c:ext>
            </c:extLst>
          </c:dPt>
          <c:dPt>
            <c:idx val="7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132E-4558-8B77-BD70B9DAB1AA}"/>
              </c:ext>
            </c:extLst>
          </c:dPt>
          <c:dPt>
            <c:idx val="8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132E-4558-8B77-BD70B9DAB1AA}"/>
              </c:ext>
            </c:extLst>
          </c:dPt>
          <c:dPt>
            <c:idx val="9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132E-4558-8B77-BD70B9DAB1AA}"/>
              </c:ext>
            </c:extLst>
          </c:dPt>
          <c:dPt>
            <c:idx val="10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132E-4558-8B77-BD70B9DAB1AA}"/>
              </c:ext>
            </c:extLst>
          </c:dPt>
          <c:dPt>
            <c:idx val="11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132E-4558-8B77-BD70B9DAB1AA}"/>
              </c:ext>
            </c:extLst>
          </c:dPt>
          <c:dPt>
            <c:idx val="12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132E-4558-8B77-BD70B9DAB1AA}"/>
              </c:ext>
            </c:extLst>
          </c:dPt>
          <c:dPt>
            <c:idx val="13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132E-4558-8B77-BD70B9DAB1AA}"/>
              </c:ext>
            </c:extLst>
          </c:dPt>
          <c:dPt>
            <c:idx val="14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D-132E-4558-8B77-BD70B9DAB1AA}"/>
              </c:ext>
            </c:extLst>
          </c:dPt>
          <c:dPt>
            <c:idx val="15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F-132E-4558-8B77-BD70B9DAB1AA}"/>
              </c:ext>
            </c:extLst>
          </c:dPt>
          <c:dPt>
            <c:idx val="16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1-132E-4558-8B77-BD70B9DAB1AA}"/>
              </c:ext>
            </c:extLst>
          </c:dPt>
          <c:dPt>
            <c:idx val="17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3-132E-4558-8B77-BD70B9DAB1AA}"/>
              </c:ext>
            </c:extLst>
          </c:dPt>
          <c:dPt>
            <c:idx val="18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5-132E-4558-8B77-BD70B9DAB1AA}"/>
              </c:ext>
            </c:extLst>
          </c:dPt>
          <c:dPt>
            <c:idx val="19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7-132E-4558-8B77-BD70B9DAB1AA}"/>
              </c:ext>
            </c:extLst>
          </c:dPt>
          <c:dPt>
            <c:idx val="20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9-132E-4558-8B77-BD70B9DAB1AA}"/>
              </c:ext>
            </c:extLst>
          </c:dPt>
          <c:dPt>
            <c:idx val="21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B-132E-4558-8B77-BD70B9DAB1AA}"/>
              </c:ext>
            </c:extLst>
          </c:dPt>
          <c:dPt>
            <c:idx val="22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D-132E-4558-8B77-BD70B9DAB1AA}"/>
              </c:ext>
            </c:extLst>
          </c:dPt>
          <c:dPt>
            <c:idx val="23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F-132E-4558-8B77-BD70B9DAB1AA}"/>
              </c:ext>
            </c:extLst>
          </c:dPt>
          <c:dPt>
            <c:idx val="24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1-132E-4558-8B77-BD70B9DAB1AA}"/>
              </c:ext>
            </c:extLst>
          </c:dPt>
          <c:dPt>
            <c:idx val="25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3-132E-4558-8B77-BD70B9DAB1AA}"/>
              </c:ext>
            </c:extLst>
          </c:dPt>
          <c:dPt>
            <c:idx val="26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5-132E-4558-8B77-BD70B9DAB1AA}"/>
              </c:ext>
            </c:extLst>
          </c:dPt>
          <c:dPt>
            <c:idx val="27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7-132E-4558-8B77-BD70B9DAB1AA}"/>
              </c:ext>
            </c:extLst>
          </c:dPt>
          <c:dPt>
            <c:idx val="28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9-132E-4558-8B77-BD70B9DAB1AA}"/>
              </c:ext>
            </c:extLst>
          </c:dPt>
          <c:dPt>
            <c:idx val="29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B-132E-4558-8B77-BD70B9DAB1AA}"/>
              </c:ext>
            </c:extLst>
          </c:dPt>
          <c:dPt>
            <c:idx val="30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D-132E-4558-8B77-BD70B9DAB1AA}"/>
              </c:ext>
            </c:extLst>
          </c:dPt>
          <c:dPt>
            <c:idx val="31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F-132E-4558-8B77-BD70B9DAB1AA}"/>
              </c:ext>
            </c:extLst>
          </c:dPt>
          <c:dPt>
            <c:idx val="32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1-132E-4558-8B77-BD70B9DAB1AA}"/>
              </c:ext>
            </c:extLst>
          </c:dPt>
          <c:dPt>
            <c:idx val="33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3-132E-4558-8B77-BD70B9DAB1AA}"/>
              </c:ext>
            </c:extLst>
          </c:dPt>
          <c:dPt>
            <c:idx val="34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5-132E-4558-8B77-BD70B9DAB1AA}"/>
              </c:ext>
            </c:extLst>
          </c:dPt>
          <c:dPt>
            <c:idx val="35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7-132E-4558-8B77-BD70B9DAB1AA}"/>
              </c:ext>
            </c:extLst>
          </c:dPt>
          <c:dPt>
            <c:idx val="36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9-132E-4558-8B77-BD70B9DAB1AA}"/>
              </c:ext>
            </c:extLst>
          </c:dPt>
          <c:dPt>
            <c:idx val="37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B-132E-4558-8B77-BD70B9DAB1AA}"/>
              </c:ext>
            </c:extLst>
          </c:dPt>
          <c:dPt>
            <c:idx val="38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D-132E-4558-8B77-BD70B9DAB1AA}"/>
              </c:ext>
            </c:extLst>
          </c:dPt>
          <c:dPt>
            <c:idx val="39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F-132E-4558-8B77-BD70B9DAB1AA}"/>
              </c:ext>
            </c:extLst>
          </c:dPt>
          <c:dPt>
            <c:idx val="40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1-132E-4558-8B77-BD70B9DAB1AA}"/>
              </c:ext>
            </c:extLst>
          </c:dPt>
          <c:dPt>
            <c:idx val="41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3-132E-4558-8B77-BD70B9DAB1AA}"/>
              </c:ext>
            </c:extLst>
          </c:dPt>
          <c:dPt>
            <c:idx val="42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5-132E-4558-8B77-BD70B9DAB1AA}"/>
              </c:ext>
            </c:extLst>
          </c:dPt>
          <c:dPt>
            <c:idx val="43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7-132E-4558-8B77-BD70B9DAB1AA}"/>
              </c:ext>
            </c:extLst>
          </c:dPt>
          <c:dPt>
            <c:idx val="44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9-132E-4558-8B77-BD70B9DAB1AA}"/>
              </c:ext>
            </c:extLst>
          </c:dPt>
          <c:dPt>
            <c:idx val="45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B-132E-4558-8B77-BD70B9DAB1AA}"/>
              </c:ext>
            </c:extLst>
          </c:dPt>
          <c:dPt>
            <c:idx val="46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D-132E-4558-8B77-BD70B9DAB1AA}"/>
              </c:ext>
            </c:extLst>
          </c:dPt>
          <c:dPt>
            <c:idx val="47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F-132E-4558-8B77-BD70B9DAB1AA}"/>
              </c:ext>
            </c:extLst>
          </c:dPt>
          <c:dPt>
            <c:idx val="48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61-132E-4558-8B77-BD70B9DAB1AA}"/>
              </c:ext>
            </c:extLst>
          </c:dPt>
          <c:dPt>
            <c:idx val="49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63-132E-4558-8B77-BD70B9DAB1AA}"/>
              </c:ext>
            </c:extLst>
          </c:dPt>
          <c:dPt>
            <c:idx val="50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65-132E-4558-8B77-BD70B9DAB1AA}"/>
              </c:ext>
            </c:extLst>
          </c:dPt>
          <c:dLbls>
            <c:dLbl>
              <c:idx val="0"/>
              <c:layout>
                <c:manualLayout>
                  <c:x val="-0.15115715720904144"/>
                  <c:y val="0.29355590641958451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6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600" baseline="0"/>
                      <a:t>80% (41/51)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059555369907663"/>
                      <c:h val="0.35146302235583571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1-132E-4558-8B77-BD70B9DAB1A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32E-4558-8B77-BD70B9DAB1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numRef>
              <c:f>Sheet1!$B$2:$B$52</c:f>
              <c:numCache>
                <c:formatCode>General</c:formatCode>
                <c:ptCount val="51"/>
                <c:pt idx="0">
                  <c:v>1</c:v>
                </c:pt>
                <c:pt idx="1">
                  <c:v>2</c:v>
                </c:pt>
              </c:numCache>
            </c:numRef>
          </c:cat>
          <c:val>
            <c:numRef>
              <c:f>Sheet1!$C$2:$C$52</c:f>
              <c:numCache>
                <c:formatCode>0.0%</c:formatCode>
                <c:ptCount val="51"/>
                <c:pt idx="0" formatCode="0%">
                  <c:v>0.2</c:v>
                </c:pt>
                <c:pt idx="1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66-132E-4558-8B77-BD70B9DAB1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sz="1800" b="0">
                <a:solidFill>
                  <a:schemeClr val="accent1"/>
                </a:solidFill>
                <a:latin typeface="Montserrat" panose="00000500000000000000" pitchFamily="2" charset="0"/>
              </a:rPr>
              <a:t>Time Savings</a:t>
            </a:r>
            <a:r>
              <a:rPr lang="en-US" sz="1800" b="0" baseline="0">
                <a:solidFill>
                  <a:schemeClr val="accent1"/>
                </a:solidFill>
                <a:latin typeface="Montserrat" panose="00000500000000000000" pitchFamily="2" charset="0"/>
              </a:rPr>
              <a:t> per State</a:t>
            </a:r>
            <a:endParaRPr lang="en-US" sz="1800" b="0">
              <a:solidFill>
                <a:schemeClr val="accent1"/>
              </a:solidFill>
              <a:latin typeface="Montserrat" panose="00000500000000000000" pitchFamily="2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2"/>
                <c:pt idx="0">
                  <c:v>Manual Extraction</c:v>
                </c:pt>
                <c:pt idx="1">
                  <c:v>Automated Extraction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</c:v>
                </c:pt>
                <c:pt idx="1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6E-435C-9848-1F5B1E7F62F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2"/>
                <c:pt idx="0">
                  <c:v>Manual Extraction</c:v>
                </c:pt>
                <c:pt idx="1">
                  <c:v>Automated Extraction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1-D26E-435C-9848-1F5B1E7F62F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2"/>
                <c:pt idx="0">
                  <c:v>Manual Extraction</c:v>
                </c:pt>
                <c:pt idx="1">
                  <c:v>Automated Extraction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2-D26E-435C-9848-1F5B1E7F62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46480080"/>
        <c:axId val="346479120"/>
      </c:barChart>
      <c:catAx>
        <c:axId val="3464800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6479120"/>
        <c:crosses val="autoZero"/>
        <c:auto val="1"/>
        <c:lblAlgn val="ctr"/>
        <c:lblOffset val="100"/>
        <c:noMultiLvlLbl val="0"/>
      </c:catAx>
      <c:valAx>
        <c:axId val="34647912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6480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6510420767716534"/>
          <c:y val="4.2187497404804541E-2"/>
          <c:w val="0.63229170767716536"/>
          <c:h val="0.94843750317190556"/>
        </c:manualLayout>
      </c:layout>
      <c:doughnutChart>
        <c:varyColors val="1"/>
        <c:ser>
          <c:idx val="0"/>
          <c:order val="0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A97-4563-9BD2-F705421EB7F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A97-4563-9BD2-F705421EB7F0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A97-4563-9BD2-F705421EB7F0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A97-4563-9BD2-F705421EB7F0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A97-4563-9BD2-F705421EB7F0}"/>
              </c:ext>
            </c:extLst>
          </c:dPt>
          <c:dPt>
            <c:idx val="5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A97-4563-9BD2-F705421EB7F0}"/>
              </c:ext>
            </c:extLst>
          </c:dPt>
          <c:dPt>
            <c:idx val="6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A97-4563-9BD2-F705421EB7F0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A97-4563-9BD2-F705421EB7F0}"/>
              </c:ext>
            </c:extLst>
          </c:dPt>
          <c:dPt>
            <c:idx val="8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A97-4563-9BD2-F705421EB7F0}"/>
              </c:ext>
            </c:extLst>
          </c:dPt>
          <c:dPt>
            <c:idx val="9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A97-4563-9BD2-F705421EB7F0}"/>
              </c:ext>
            </c:extLst>
          </c:dPt>
          <c:dPt>
            <c:idx val="1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A97-4563-9BD2-F705421EB7F0}"/>
              </c:ext>
            </c:extLst>
          </c:dPt>
          <c:dPt>
            <c:idx val="1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BA97-4563-9BD2-F705421EB7F0}"/>
              </c:ext>
            </c:extLst>
          </c:dPt>
          <c:dPt>
            <c:idx val="1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BA97-4563-9BD2-F705421EB7F0}"/>
              </c:ext>
            </c:extLst>
          </c:dPt>
          <c:dPt>
            <c:idx val="1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BA97-4563-9BD2-F705421EB7F0}"/>
              </c:ext>
            </c:extLst>
          </c:dPt>
          <c:dPt>
            <c:idx val="1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D-BA97-4563-9BD2-F705421EB7F0}"/>
              </c:ext>
            </c:extLst>
          </c:dPt>
          <c:dPt>
            <c:idx val="15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F-BA97-4563-9BD2-F705421EB7F0}"/>
              </c:ext>
            </c:extLst>
          </c:dPt>
          <c:dPt>
            <c:idx val="16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1-BA97-4563-9BD2-F705421EB7F0}"/>
              </c:ext>
            </c:extLst>
          </c:dPt>
          <c:dPt>
            <c:idx val="17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3-BA97-4563-9BD2-F705421EB7F0}"/>
              </c:ext>
            </c:extLst>
          </c:dPt>
          <c:dPt>
            <c:idx val="18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5-BA97-4563-9BD2-F705421EB7F0}"/>
              </c:ext>
            </c:extLst>
          </c:dPt>
          <c:dPt>
            <c:idx val="19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7-BA97-4563-9BD2-F705421EB7F0}"/>
              </c:ext>
            </c:extLst>
          </c:dPt>
          <c:dPt>
            <c:idx val="2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9-BA97-4563-9BD2-F705421EB7F0}"/>
              </c:ext>
            </c:extLst>
          </c:dPt>
          <c:dPt>
            <c:idx val="2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B-BA97-4563-9BD2-F705421EB7F0}"/>
              </c:ext>
            </c:extLst>
          </c:dPt>
          <c:dPt>
            <c:idx val="2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D-BA97-4563-9BD2-F705421EB7F0}"/>
              </c:ext>
            </c:extLst>
          </c:dPt>
          <c:dPt>
            <c:idx val="2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F-BA97-4563-9BD2-F705421EB7F0}"/>
              </c:ext>
            </c:extLst>
          </c:dPt>
          <c:dPt>
            <c:idx val="2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1-BA97-4563-9BD2-F705421EB7F0}"/>
              </c:ext>
            </c:extLst>
          </c:dPt>
          <c:dPt>
            <c:idx val="25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3-BA97-4563-9BD2-F705421EB7F0}"/>
              </c:ext>
            </c:extLst>
          </c:dPt>
          <c:dPt>
            <c:idx val="26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5-BA97-4563-9BD2-F705421EB7F0}"/>
              </c:ext>
            </c:extLst>
          </c:dPt>
          <c:dPt>
            <c:idx val="27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7-BA97-4563-9BD2-F705421EB7F0}"/>
              </c:ext>
            </c:extLst>
          </c:dPt>
          <c:dPt>
            <c:idx val="28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9-BA97-4563-9BD2-F705421EB7F0}"/>
              </c:ext>
            </c:extLst>
          </c:dPt>
          <c:dPt>
            <c:idx val="29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B-BA97-4563-9BD2-F705421EB7F0}"/>
              </c:ext>
            </c:extLst>
          </c:dPt>
          <c:dPt>
            <c:idx val="3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D-BA97-4563-9BD2-F705421EB7F0}"/>
              </c:ext>
            </c:extLst>
          </c:dPt>
          <c:dPt>
            <c:idx val="3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F-BA97-4563-9BD2-F705421EB7F0}"/>
              </c:ext>
            </c:extLst>
          </c:dPt>
          <c:dPt>
            <c:idx val="3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1-BA97-4563-9BD2-F705421EB7F0}"/>
              </c:ext>
            </c:extLst>
          </c:dPt>
          <c:dPt>
            <c:idx val="3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3-BA97-4563-9BD2-F705421EB7F0}"/>
              </c:ext>
            </c:extLst>
          </c:dPt>
          <c:dPt>
            <c:idx val="3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5-BA97-4563-9BD2-F705421EB7F0}"/>
              </c:ext>
            </c:extLst>
          </c:dPt>
          <c:dPt>
            <c:idx val="35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7-BA97-4563-9BD2-F705421EB7F0}"/>
              </c:ext>
            </c:extLst>
          </c:dPt>
          <c:dPt>
            <c:idx val="36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9-BA97-4563-9BD2-F705421EB7F0}"/>
              </c:ext>
            </c:extLst>
          </c:dPt>
          <c:dPt>
            <c:idx val="37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B-BA97-4563-9BD2-F705421EB7F0}"/>
              </c:ext>
            </c:extLst>
          </c:dPt>
          <c:dPt>
            <c:idx val="38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D-BA97-4563-9BD2-F705421EB7F0}"/>
              </c:ext>
            </c:extLst>
          </c:dPt>
          <c:dPt>
            <c:idx val="39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F-BA97-4563-9BD2-F705421EB7F0}"/>
              </c:ext>
            </c:extLst>
          </c:dPt>
          <c:dPt>
            <c:idx val="4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1-BA97-4563-9BD2-F705421EB7F0}"/>
              </c:ext>
            </c:extLst>
          </c:dPt>
          <c:dPt>
            <c:idx val="4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3-BA97-4563-9BD2-F705421EB7F0}"/>
              </c:ext>
            </c:extLst>
          </c:dPt>
          <c:dPt>
            <c:idx val="4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5-BA97-4563-9BD2-F705421EB7F0}"/>
              </c:ext>
            </c:extLst>
          </c:dPt>
          <c:dPt>
            <c:idx val="4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7-BA97-4563-9BD2-F705421EB7F0}"/>
              </c:ext>
            </c:extLst>
          </c:dPt>
          <c:dPt>
            <c:idx val="4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9-BA97-4563-9BD2-F705421EB7F0}"/>
              </c:ext>
            </c:extLst>
          </c:dPt>
          <c:dPt>
            <c:idx val="45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B-BA97-4563-9BD2-F705421EB7F0}"/>
              </c:ext>
            </c:extLst>
          </c:dPt>
          <c:dPt>
            <c:idx val="46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D-BA97-4563-9BD2-F705421EB7F0}"/>
              </c:ext>
            </c:extLst>
          </c:dPt>
          <c:dPt>
            <c:idx val="47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F-BA97-4563-9BD2-F705421EB7F0}"/>
              </c:ext>
            </c:extLst>
          </c:dPt>
          <c:dPt>
            <c:idx val="48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61-BA97-4563-9BD2-F705421EB7F0}"/>
              </c:ext>
            </c:extLst>
          </c:dPt>
          <c:dPt>
            <c:idx val="49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63-BA97-4563-9BD2-F705421EB7F0}"/>
              </c:ext>
            </c:extLst>
          </c:dPt>
          <c:dPt>
            <c:idx val="5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65-BA97-4563-9BD2-F705421EB7F0}"/>
              </c:ext>
            </c:extLst>
          </c:dPt>
          <c:cat>
            <c:numRef>
              <c:f>Sheet1!$B$2:$B$52</c:f>
              <c:numCache>
                <c:formatCode>General</c:formatCode>
                <c:ptCount val="5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</c:numCache>
            </c:numRef>
          </c:cat>
          <c:val>
            <c:numRef>
              <c:f>Sheet1!$C$2:$C$52</c:f>
              <c:numCache>
                <c:formatCode>General</c:formatCode>
                <c:ptCount val="5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66-BA97-4563-9BD2-F705421EB7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4652006908408"/>
          <c:y val="0.11162011609868296"/>
          <c:w val="0.63333353838582673"/>
          <c:h val="0.95000024913876424"/>
        </c:manualLayout>
      </c:layout>
      <c:doughnutChart>
        <c:varyColors val="1"/>
        <c:ser>
          <c:idx val="0"/>
          <c:order val="0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FE7-4079-BED4-F702A4D9B128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FE7-4079-BED4-F702A4D9B128}"/>
              </c:ext>
            </c:extLst>
          </c:dPt>
          <c:cat>
            <c:strRef>
              <c:f>Sheet1!$B$2:$B$3</c:f>
              <c:strCache>
                <c:ptCount val="2"/>
                <c:pt idx="0">
                  <c:v>%Remaining</c:v>
                </c:pt>
                <c:pt idx="1">
                  <c:v>%Completed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 formatCode="0%">
                  <c:v>0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E7-4079-BED4-F702A4D9B1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3843641233271076"/>
          <c:y val="0.86953062933086345"/>
          <c:w val="0.72312691418997121"/>
          <c:h val="6.938199942760651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5836492062381984E-2"/>
          <c:y val="0.13049176144648586"/>
          <c:w val="0.96229571590724461"/>
          <c:h val="0.7198173665791776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umitative_claims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Day 1</c:v>
                </c:pt>
                <c:pt idx="1">
                  <c:v>Day 2</c:v>
                </c:pt>
                <c:pt idx="2">
                  <c:v>Day 3</c:v>
                </c:pt>
                <c:pt idx="3">
                  <c:v>Day 4</c:v>
                </c:pt>
                <c:pt idx="4">
                  <c:v>Day 5</c:v>
                </c:pt>
                <c:pt idx="5">
                  <c:v>Over 5 Days</c:v>
                </c:pt>
              </c:strCache>
            </c:strRef>
          </c:cat>
          <c:val>
            <c:numRef>
              <c:f>Sheet1!$B$2:$B$7</c:f>
              <c:numCache>
                <c:formatCode>0</c:formatCode>
                <c:ptCount val="6"/>
                <c:pt idx="0" formatCode="General">
                  <c:v>0</c:v>
                </c:pt>
                <c:pt idx="1">
                  <c:v>446401.38000000699</c:v>
                </c:pt>
                <c:pt idx="2">
                  <c:v>748356.52000001073</c:v>
                </c:pt>
                <c:pt idx="3">
                  <c:v>1015373.0200000107</c:v>
                </c:pt>
                <c:pt idx="4">
                  <c:v>1255392.7700000091</c:v>
                </c:pt>
                <c:pt idx="5">
                  <c:v>1508160.38000000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7A-4189-B039-F3170717463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unt of CLAIM_NUMB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9.3835666375036542E-2"/>
                </c:manualLayout>
              </c:layout>
              <c:tx>
                <c:rich>
                  <a:bodyPr/>
                  <a:lstStyle/>
                  <a:p>
                    <a:fld id="{114EFB52-67C7-40D8-9396-662F542A3D3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6C7A-4189-B039-F31707174634}"/>
                </c:ext>
              </c:extLst>
            </c:dLbl>
            <c:dLbl>
              <c:idx val="1"/>
              <c:layout>
                <c:manualLayout>
                  <c:x val="-4.342133830409952E-17"/>
                  <c:y val="-6.3543671624380377E-2"/>
                </c:manualLayout>
              </c:layout>
              <c:tx>
                <c:rich>
                  <a:bodyPr/>
                  <a:lstStyle/>
                  <a:p>
                    <a:fld id="{7862B237-6B0C-4D0E-A782-D93B77EEE70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6C7A-4189-B039-F31707174634}"/>
                </c:ext>
              </c:extLst>
            </c:dLbl>
            <c:dLbl>
              <c:idx val="2"/>
              <c:layout>
                <c:manualLayout>
                  <c:x val="8.6299741240646196E-4"/>
                  <c:y val="-8.1396179644211225E-2"/>
                </c:manualLayout>
              </c:layout>
              <c:tx>
                <c:rich>
                  <a:bodyPr/>
                  <a:lstStyle/>
                  <a:p>
                    <a:fld id="{DBA5A1E9-6B86-40AB-9D05-C4F7B540B114}" type="CELLRANGE">
                      <a:rPr lang="en-US" dirty="0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6C7A-4189-B039-F31707174634}"/>
                </c:ext>
              </c:extLst>
            </c:dLbl>
            <c:dLbl>
              <c:idx val="3"/>
              <c:layout>
                <c:manualLayout>
                  <c:x val="0"/>
                  <c:y val="-8.5629556722076408E-2"/>
                </c:manualLayout>
              </c:layout>
              <c:tx>
                <c:rich>
                  <a:bodyPr/>
                  <a:lstStyle/>
                  <a:p>
                    <a:fld id="{1026C34C-D6D5-417D-BD08-2EFB5164F5F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6C7A-4189-B039-F31707174634}"/>
                </c:ext>
              </c:extLst>
            </c:dLbl>
            <c:dLbl>
              <c:idx val="4"/>
              <c:layout>
                <c:manualLayout>
                  <c:x val="5.1151362566146776E-3"/>
                  <c:y val="-7.74183435403907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5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5F3B12F-490F-45D3-9F9D-A74F90F9FA68}" type="CELLRANGE">
                      <a:rPr lang="en-US" sz="1050" dirty="0"/>
                      <a:pPr>
                        <a:defRPr sz="105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3082360071799886E-2"/>
                      <c:h val="0.1386111111111111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6C7A-4189-B039-F31707174634}"/>
                </c:ext>
              </c:extLst>
            </c:dLbl>
            <c:dLbl>
              <c:idx val="5"/>
              <c:layout>
                <c:manualLayout>
                  <c:x val="-1.1842319975757618E-3"/>
                  <c:y val="-0.32904782735491395"/>
                </c:manualLayout>
              </c:layout>
              <c:tx>
                <c:rich>
                  <a:bodyPr/>
                  <a:lstStyle/>
                  <a:p>
                    <a:fld id="{8023F872-02AC-4043-A043-B1D80D76F45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6C7A-4189-B039-F3170717463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Day 1</c:v>
                </c:pt>
                <c:pt idx="1">
                  <c:v>Day 2</c:v>
                </c:pt>
                <c:pt idx="2">
                  <c:v>Day 3</c:v>
                </c:pt>
                <c:pt idx="3">
                  <c:v>Day 4</c:v>
                </c:pt>
                <c:pt idx="4">
                  <c:v>Day 5</c:v>
                </c:pt>
                <c:pt idx="5">
                  <c:v>Over 5 Days</c:v>
                </c:pt>
              </c:strCache>
            </c:strRef>
          </c:cat>
          <c:val>
            <c:numRef>
              <c:f>Sheet1!$C$2:$C$7</c:f>
              <c:numCache>
                <c:formatCode>_(* #,##0.00_);_(* \(#,##0.00\);_(* "-"??_);_(@_)</c:formatCode>
                <c:ptCount val="6"/>
                <c:pt idx="0">
                  <c:v>446401.38000000699</c:v>
                </c:pt>
                <c:pt idx="1">
                  <c:v>301955.14000000374</c:v>
                </c:pt>
                <c:pt idx="2">
                  <c:v>267016.5</c:v>
                </c:pt>
                <c:pt idx="3">
                  <c:v>240019.74999999828</c:v>
                </c:pt>
                <c:pt idx="4">
                  <c:v>252767.60999999868</c:v>
                </c:pt>
                <c:pt idx="5">
                  <c:v>7190288.279999517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D$2:$D$18</c15:f>
                <c15:dlblRangeCache>
                  <c:ptCount val="17"/>
                  <c:pt idx="0">
                    <c:v>446.40k
(5%)</c:v>
                  </c:pt>
                  <c:pt idx="1">
                    <c:v>748.36k
(9%)</c:v>
                  </c:pt>
                  <c:pt idx="2">
                    <c:v>1.0M
(12%)</c:v>
                  </c:pt>
                  <c:pt idx="3">
                    <c:v>1.3M
(14%)</c:v>
                  </c:pt>
                  <c:pt idx="4">
                    <c:v>1.5M
(17%)</c:v>
                  </c:pt>
                  <c:pt idx="5">
                    <c:v>8.7M
(100%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2-6C7A-4189-B039-F3170717463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erceCLumi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Day 1</c:v>
                </c:pt>
                <c:pt idx="1">
                  <c:v>Day 2</c:v>
                </c:pt>
                <c:pt idx="2">
                  <c:v>Day 3</c:v>
                </c:pt>
                <c:pt idx="3">
                  <c:v>Day 4</c:v>
                </c:pt>
                <c:pt idx="4">
                  <c:v>Day 5</c:v>
                </c:pt>
                <c:pt idx="5">
                  <c:v>Over 5 Days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6C7A-4189-B039-F317071746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80388336"/>
        <c:axId val="880387856"/>
      </c:barChart>
      <c:catAx>
        <c:axId val="880388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0387856"/>
        <c:crosses val="autoZero"/>
        <c:auto val="1"/>
        <c:lblAlgn val="ctr"/>
        <c:lblOffset val="100"/>
        <c:noMultiLvlLbl val="0"/>
      </c:catAx>
      <c:valAx>
        <c:axId val="8803878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80388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579247966058232E-2"/>
          <c:y val="8.9650549921414593E-2"/>
          <c:w val="0.97394689605333706"/>
          <c:h val="0.9103494500785853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7</c:f>
              <c:numCache>
                <c:formatCode>"$"#,##0.00</c:formatCode>
                <c:ptCount val="6"/>
                <c:pt idx="0" formatCode="General">
                  <c:v>0</c:v>
                </c:pt>
                <c:pt idx="1">
                  <c:v>41902270.687200218</c:v>
                </c:pt>
                <c:pt idx="2">
                  <c:v>69594353.265500218</c:v>
                </c:pt>
                <c:pt idx="3">
                  <c:v>95089776.936500192</c:v>
                </c:pt>
                <c:pt idx="4">
                  <c:v>119006002.78720014</c:v>
                </c:pt>
                <c:pt idx="5">
                  <c:v>145196353.039200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6E-480E-B3E6-6C210F5B89C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1604541110100939E-3"/>
                  <c:y val="-4.1850217932015939E-2"/>
                </c:manualLayout>
              </c:layout>
              <c:tx>
                <c:rich>
                  <a:bodyPr/>
                  <a:lstStyle/>
                  <a:p>
                    <a:fld id="{61353C52-BA06-4BCC-BD51-D66789CCD79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396E-480E-B3E6-6C210F5B89C5}"/>
                </c:ext>
              </c:extLst>
            </c:dLbl>
            <c:dLbl>
              <c:idx val="1"/>
              <c:layout>
                <c:manualLayout>
                  <c:x val="-2.3209082220201878E-3"/>
                  <c:y val="-5.6687383944010052E-2"/>
                </c:manualLayout>
              </c:layout>
              <c:tx>
                <c:rich>
                  <a:bodyPr/>
                  <a:lstStyle/>
                  <a:p>
                    <a:fld id="{2D5F3B08-A3DD-48D2-AA70-0A474610062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396E-480E-B3E6-6C210F5B89C5}"/>
                </c:ext>
              </c:extLst>
            </c:dLbl>
            <c:dLbl>
              <c:idx val="2"/>
              <c:layout>
                <c:manualLayout>
                  <c:x val="-1.1604612751332092E-3"/>
                  <c:y val="-7.5638920394458256E-2"/>
                </c:manualLayout>
              </c:layout>
              <c:tx>
                <c:rich>
                  <a:bodyPr/>
                  <a:lstStyle/>
                  <a:p>
                    <a:fld id="{BA9F3E68-6537-4C8F-88CF-87963DB1F5F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396E-480E-B3E6-6C210F5B89C5}"/>
                </c:ext>
              </c:extLst>
            </c:dLbl>
            <c:dLbl>
              <c:idx val="3"/>
              <c:layout>
                <c:manualLayout>
                  <c:x val="-8.5099510432956084E-17"/>
                  <c:y val="-7.7300520691800698E-2"/>
                </c:manualLayout>
              </c:layout>
              <c:tx>
                <c:rich>
                  <a:bodyPr/>
                  <a:lstStyle/>
                  <a:p>
                    <a:fld id="{E4FDA1BF-81A3-43D9-9954-4C328AF4615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396E-480E-B3E6-6C210F5B89C5}"/>
                </c:ext>
              </c:extLst>
            </c:dLbl>
            <c:dLbl>
              <c:idx val="4"/>
              <c:layout>
                <c:manualLayout>
                  <c:x val="-2.3209225502662484E-3"/>
                  <c:y val="-7.930333942301572E-2"/>
                </c:manualLayout>
              </c:layout>
              <c:tx>
                <c:rich>
                  <a:bodyPr/>
                  <a:lstStyle/>
                  <a:p>
                    <a:fld id="{3BB0C8DD-6D1A-41F5-855F-032F6474D0F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396E-480E-B3E6-6C210F5B89C5}"/>
                </c:ext>
              </c:extLst>
            </c:dLbl>
            <c:dLbl>
              <c:idx val="5"/>
              <c:layout>
                <c:manualLayout>
                  <c:x val="-4.0207939949180597E-4"/>
                  <c:y val="-0.40719491547259073"/>
                </c:manualLayout>
              </c:layout>
              <c:tx>
                <c:rich>
                  <a:bodyPr/>
                  <a:lstStyle/>
                  <a:p>
                    <a:fld id="{530C53E6-779C-4EB1-98B4-6DBB4DDECF5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396E-480E-B3E6-6C210F5B89C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7</c:f>
              <c:numCache>
                <c:formatCode>"$"#,##0.00</c:formatCode>
                <c:ptCount val="6"/>
                <c:pt idx="0">
                  <c:v>41902270.687200218</c:v>
                </c:pt>
                <c:pt idx="1">
                  <c:v>27692082.578300003</c:v>
                </c:pt>
                <c:pt idx="2">
                  <c:v>25495423.67099997</c:v>
                </c:pt>
                <c:pt idx="3">
                  <c:v>23916225.85069995</c:v>
                </c:pt>
                <c:pt idx="4">
                  <c:v>26190350.252000023</c:v>
                </c:pt>
                <c:pt idx="5">
                  <c:v>817974805.68739676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D$2:$D$7</c15:f>
                <c15:dlblRangeCache>
                  <c:ptCount val="6"/>
                  <c:pt idx="0">
                    <c:v>$41.9M
(4%)</c:v>
                  </c:pt>
                  <c:pt idx="1">
                    <c:v>$69.6M
(7%)</c:v>
                  </c:pt>
                  <c:pt idx="2">
                    <c:v>$95.1M
(10%)</c:v>
                  </c:pt>
                  <c:pt idx="3">
                    <c:v>$119.0M
(12%)</c:v>
                  </c:pt>
                  <c:pt idx="4">
                    <c:v>$145.2M
(15%)</c:v>
                  </c:pt>
                  <c:pt idx="5">
                    <c:v>$963.2M
(100%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7-396E-480E-B3E6-6C210F5B89C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96E-480E-B3E6-6C210F5B89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13254319"/>
        <c:axId val="1113249519"/>
      </c:barChart>
      <c:catAx>
        <c:axId val="111325431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113249519"/>
        <c:crosses val="autoZero"/>
        <c:auto val="1"/>
        <c:lblAlgn val="ctr"/>
        <c:lblOffset val="100"/>
        <c:noMultiLvlLbl val="0"/>
      </c:catAx>
      <c:valAx>
        <c:axId val="111324951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13254319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Distribution</a:t>
            </a:r>
            <a:r>
              <a:rPr lang="en-US" sz="1400" baseline="0"/>
              <a:t> by Product</a:t>
            </a:r>
            <a:endParaRPr lang="en-US" sz="1400"/>
          </a:p>
        </c:rich>
      </c:tx>
      <c:layout>
        <c:manualLayout>
          <c:xMode val="edge"/>
          <c:yMode val="edge"/>
          <c:x val="0.2733259993333762"/>
          <c:y val="3.26312400320472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1100">
                        <a:solidFill>
                          <a:schemeClr val="bg1"/>
                        </a:solidFill>
                      </a:rPr>
                      <a:t>39%($3M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77058975302192"/>
                      <c:h val="0.25692679378702449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052C-490B-B8A7-8CC7F47BCBF2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st Saving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391199897765988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2C-490B-B8A7-8CC7F47BCBF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1100">
                        <a:solidFill>
                          <a:schemeClr val="bg1"/>
                        </a:solidFill>
                      </a:rPr>
                      <a:t>61%</a:t>
                    </a:r>
                    <a:r>
                      <a:rPr lang="en-US">
                        <a:solidFill>
                          <a:schemeClr val="bg1"/>
                        </a:solidFill>
                      </a:rPr>
                      <a:t>($</a:t>
                    </a:r>
                    <a:r>
                      <a:rPr lang="en-US" sz="1100">
                        <a:solidFill>
                          <a:schemeClr val="bg1"/>
                        </a:solidFill>
                      </a:rPr>
                      <a:t>4M</a:t>
                    </a:r>
                    <a:r>
                      <a:rPr lang="en-US">
                        <a:solidFill>
                          <a:schemeClr val="bg1"/>
                        </a:solidFill>
                      </a:rPr>
                      <a:t>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132389647642493"/>
                      <c:h val="0.25692679378702449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4-052C-490B-B8A7-8CC7F47BCBF2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st Savings</c:v>
                </c:pt>
              </c:strCache>
            </c:strRef>
          </c:cat>
          <c:val>
            <c:numRef>
              <c:f>Sheet1!$C$2</c:f>
              <c:numCache>
                <c:formatCode>0.00</c:formatCode>
                <c:ptCount val="1"/>
                <c:pt idx="0">
                  <c:v>0.608800102233999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2C-490B-B8A7-8CC7F47BCB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99605824"/>
        <c:axId val="1299586144"/>
      </c:barChart>
      <c:catAx>
        <c:axId val="12996058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9586144"/>
        <c:crosses val="autoZero"/>
        <c:auto val="1"/>
        <c:lblAlgn val="ctr"/>
        <c:lblOffset val="100"/>
        <c:noMultiLvlLbl val="0"/>
      </c:catAx>
      <c:valAx>
        <c:axId val="1299586144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299605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bg1"/>
                        </a:solidFill>
                      </a:rPr>
                      <a:t>72%(42K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B3DB-402B-BAED-22F6F5E1276A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laim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7231312768908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3DB-402B-BAED-22F6F5E1276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bg1"/>
                        </a:solidFill>
                      </a:rPr>
                      <a:t>28%(16k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B3DB-402B-BAED-22F6F5E1276A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laims</c:v>
                </c:pt>
              </c:strCache>
            </c:strRef>
          </c:cat>
          <c:val>
            <c:numRef>
              <c:f>Sheet1!$C$2</c:f>
              <c:numCache>
                <c:formatCode>0.00</c:formatCode>
                <c:ptCount val="1"/>
                <c:pt idx="0">
                  <c:v>0.27691687231091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3DB-402B-BAED-22F6F5E127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99605824"/>
        <c:axId val="1299586144"/>
      </c:barChart>
      <c:catAx>
        <c:axId val="12996058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9586144"/>
        <c:crosses val="autoZero"/>
        <c:auto val="1"/>
        <c:lblAlgn val="ctr"/>
        <c:lblOffset val="100"/>
        <c:noMultiLvlLbl val="0"/>
      </c:catAx>
      <c:valAx>
        <c:axId val="1299586144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299605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Distribution by</a:t>
            </a:r>
            <a:r>
              <a:rPr lang="en-US" sz="1400" baseline="0"/>
              <a:t> Claim types</a:t>
            </a:r>
            <a:endParaRPr lang="en-US" sz="1400"/>
          </a:p>
        </c:rich>
      </c:tx>
      <c:layout>
        <c:manualLayout>
          <c:xMode val="edge"/>
          <c:yMode val="edge"/>
          <c:x val="0.29534745899953169"/>
          <c:y val="0.1426611796982167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1980732142124387"/>
          <c:y val="0.25129760258525213"/>
          <c:w val="0.7309860529159391"/>
          <c:h val="0.5091319245177534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a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tx1"/>
                        </a:solidFill>
                      </a:rPr>
                      <a:t>6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8DC0-4E9B-8811-ADFC04CC38D8}"/>
                </c:ext>
              </c:extLst>
            </c:dLbl>
            <c:spPr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st Savings</c:v>
                </c:pt>
              </c:strCache>
            </c:strRef>
          </c:cat>
          <c:val>
            <c:numRef>
              <c:f>Sheet1!$B$2</c:f>
              <c:numCache>
                <c:formatCode>0.00</c:formatCode>
                <c:ptCount val="1"/>
                <c:pt idx="0">
                  <c:v>449594.7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C0-4E9B-8811-ADFC04CC38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of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bg1"/>
                        </a:solidFill>
                      </a:rPr>
                      <a:t>94%($7M)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8DC0-4E9B-8811-ADFC04CC38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st Savings</c:v>
                </c:pt>
              </c:strCache>
            </c:strRef>
          </c:cat>
          <c:val>
            <c:numRef>
              <c:f>Sheet1!$C$2</c:f>
              <c:numCache>
                <c:formatCode>0.00</c:formatCode>
                <c:ptCount val="1"/>
                <c:pt idx="0">
                  <c:v>7064105.67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DC0-4E9B-8811-ADFC04CC38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0"/>
        <c:overlap val="100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  <c:axId val="1299556384"/>
        <c:axId val="1299571264"/>
      </c:barChart>
      <c:catAx>
        <c:axId val="12995563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9571264"/>
        <c:crosses val="autoZero"/>
        <c:auto val="1"/>
        <c:lblAlgn val="ctr"/>
        <c:lblOffset val="100"/>
        <c:noMultiLvlLbl val="0"/>
      </c:catAx>
      <c:valAx>
        <c:axId val="1299571264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12995563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473152921769342"/>
          <c:y val="0.385586653969681"/>
          <c:w val="0.74890484092612009"/>
          <c:h val="0.54868574369044587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tx1"/>
                        </a:solidFill>
                      </a:rPr>
                      <a:t>6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52D9-4D6E-B845-F21D1E755869}"/>
                </c:ext>
              </c:extLst>
            </c:dLbl>
            <c:spPr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laims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D9-4D6E-B845-F21D1E75586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bg1"/>
                        </a:solidFill>
                      </a:rPr>
                      <a:t>94%(55K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52D9-4D6E-B845-F21D1E75586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laims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2D9-4D6E-B845-F21D1E75586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1299533344"/>
        <c:axId val="1299519904"/>
      </c:barChart>
      <c:catAx>
        <c:axId val="12995333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9519904"/>
        <c:crosses val="autoZero"/>
        <c:auto val="1"/>
        <c:lblAlgn val="ctr"/>
        <c:lblOffset val="100"/>
        <c:noMultiLvlLbl val="0"/>
      </c:catAx>
      <c:valAx>
        <c:axId val="1299519904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299533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Distribution by State</a:t>
            </a:r>
          </a:p>
        </c:rich>
      </c:tx>
      <c:layout>
        <c:manualLayout>
          <c:xMode val="edge"/>
          <c:yMode val="edge"/>
          <c:x val="0.31084411722562"/>
          <c:y val="5.41777133588187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4267673558815111"/>
          <c:y val="0.25492559903555934"/>
          <c:w val="0.79889755943575158"/>
          <c:h val="0.5268927503948315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X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BE86E33E-89CB-481A-BBEE-12CD9AD27957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r>
                      <a:rPr lang="en-US">
                        <a:solidFill>
                          <a:schemeClr val="bg1"/>
                        </a:solidFill>
                      </a:rPr>
                      <a:t>($4M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A562-401F-965A-BC57D010616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st Saving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50722259879359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62-401F-965A-BC57D010616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L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2.302139842004323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>
                        <a:solidFill>
                          <a:schemeClr val="bg1"/>
                        </a:solidFill>
                      </a:rPr>
                      <a:t>41%($3M)</a:t>
                    </a: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A562-401F-965A-BC57D010616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st Savings</c:v>
                </c:pt>
              </c:strCache>
            </c:strRef>
          </c:cat>
          <c:val>
            <c:numRef>
              <c:f>Sheet1!$C$2</c:f>
              <c:numCache>
                <c:formatCode>0.00</c:formatCode>
                <c:ptCount val="1"/>
                <c:pt idx="0">
                  <c:v>0.404356906186370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562-401F-965A-BC57D010616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OK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bg1"/>
                        </a:solidFill>
                      </a:rPr>
                      <a:t>5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A562-401F-965A-BC57D010616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st Savings</c:v>
                </c:pt>
              </c:strCache>
            </c:strRef>
          </c:cat>
          <c:val>
            <c:numRef>
              <c:f>Sheet1!$D$2</c:f>
              <c:numCache>
                <c:formatCode>0.00%</c:formatCode>
                <c:ptCount val="1"/>
                <c:pt idx="0">
                  <c:v>5.25060838430278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562-401F-965A-BC57D010616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M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5062950896933268E-2"/>
                  <c:y val="-0.15792889917421146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tx1"/>
                        </a:solidFill>
                      </a:rPr>
                      <a:t>3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A562-401F-965A-BC57D010616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st Savings</c:v>
                </c:pt>
              </c:strCache>
            </c:strRef>
          </c:cat>
          <c:val>
            <c:numRef>
              <c:f>Sheet1!$E$2</c:f>
              <c:numCache>
                <c:formatCode>0.00%</c:formatCode>
                <c:ptCount val="1"/>
                <c:pt idx="0">
                  <c:v>2.44884556108155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562-401F-965A-BC57D010616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T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7110665444533085E-2"/>
                  <c:y val="-0.18899687933963011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A562-401F-965A-BC57D010616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st Savings</c:v>
                </c:pt>
              </c:strCache>
            </c:strRef>
          </c:cat>
          <c:val>
            <c:numRef>
              <c:f>Sheet1!$F$2</c:f>
              <c:numCache>
                <c:formatCode>0.00%</c:formatCode>
                <c:ptCount val="1"/>
                <c:pt idx="0">
                  <c:v>9.42595556622752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562-401F-965A-BC57D01061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0"/>
        <c:overlap val="100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  <c:axId val="1299605824"/>
        <c:axId val="1299586144"/>
      </c:barChart>
      <c:catAx>
        <c:axId val="12996058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9586144"/>
        <c:crosses val="autoZero"/>
        <c:auto val="1"/>
        <c:lblAlgn val="ctr"/>
        <c:lblOffset val="100"/>
        <c:noMultiLvlLbl val="0"/>
      </c:catAx>
      <c:valAx>
        <c:axId val="1299586144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1299605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101_8129E5F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BEFFA9F-411E-49A2-93C4-93F5549851B0}" authorId="{FF37EF16-4888-9DC7-3251-5E1C6D29965E}" created="2025-08-12T10:13:03.447">
    <pc:sldMkLst xmlns:pc="http://schemas.microsoft.com/office/powerpoint/2013/main/command">
      <pc:docMk/>
      <pc:sldMk cId="2167006714" sldId="257"/>
    </pc:sldMkLst>
    <p188:txBody>
      <a:bodyPr/>
      <a:lstStyle/>
      <a:p>
        <a:r>
          <a:rPr lang="en-US"/>
          <a:t>[@Kuruva, Janardhan]  Are you still working on this slide? And is there any more information need to be added?
If no, then delete this slide please.</a:t>
        </a:r>
      </a:p>
    </p188:txBody>
  </p188:cm>
</p188:cmLst>
</file>

<file path=ppt/comments/modernComment_102_5CF96A7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0CB4BAD-DAF6-42EC-AB04-AB9A391C6FEA}" authorId="{FF37EF16-4888-9DC7-3251-5E1C6D29965E}" created="2025-08-12T10:15:05.984">
    <pc:sldMkLst xmlns:pc="http://schemas.microsoft.com/office/powerpoint/2013/main/command">
      <pc:docMk/>
      <pc:sldMk cId="1559849585" sldId="258"/>
    </pc:sldMkLst>
    <p188:replyLst>
      <p188:reply id="{D0B67D8B-658F-48EB-86AC-0A113D3A07DD}" authorId="{F45651D0-FD12-C282-5CEC-89E601FF4D39}" created="2025-08-12T16:18:02.724">
        <p188:txBody>
          <a:bodyPr/>
          <a:lstStyle/>
          <a:p>
            <a:r>
              <a:rPr lang="en-US"/>
              <a:t>I will fill it with sample info , Thanks Pranay.</a:t>
            </a:r>
          </a:p>
        </p188:txBody>
      </p188:reply>
    </p188:replyLst>
    <p188:txBody>
      <a:bodyPr/>
      <a:lstStyle/>
      <a:p>
        <a:r>
          <a:rPr lang="en-US"/>
          <a:t>[@Kuruva, Janardhan]  this is good but please fill the information. Or just take the screenshot from the excel file</a:t>
        </a:r>
      </a:p>
    </p188:txBody>
  </p188:cm>
</p188:cmLst>
</file>

<file path=ppt/comments/modernComment_13C_3774739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179C4B9-A00C-4758-BC38-165641243825}" authorId="{FF37EF16-4888-9DC7-3251-5E1C6D29965E}" created="2025-10-03T03:15:05.99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930378647" sldId="316"/>
      <ac:spMk id="4" creationId="{5B3CFA59-11B4-D00E-B6EE-145CE19ECF89}"/>
    </ac:deMkLst>
    <p188:replyLst>
      <p188:reply id="{2131D719-2163-41BD-AEAA-F700ADB3C55F}" authorId="{F45651D0-FD12-C282-5CEC-89E601FF4D39}" created="2025-10-03T03:21:10.137">
        <p188:txBody>
          <a:bodyPr/>
          <a:lstStyle/>
          <a:p>
            <a:r>
              <a:rPr lang="en-US"/>
              <a:t>Okay Pranay
</a:t>
            </a:r>
          </a:p>
        </p188:txBody>
      </p188:reply>
    </p188:replyLst>
    <p188:txBody>
      <a:bodyPr/>
      <a:lstStyle/>
      <a:p>
        <a:r>
          <a:rPr lang="en-US"/>
          <a:t>[@Kuruva, Janardhan]  can you update the slide decimal point to round up to 0 for cases like 27.61 to 26 and to 0 decimal places for cases like 0.53 to 0.5</a:t>
        </a:r>
      </a:p>
    </p188:txBody>
  </p188:cm>
</p188:cmLst>
</file>

<file path=ppt/comments/modernComment_565D1DD6_EB0D744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58520C2-4D6F-49E2-86FC-DD53170A6147}" authorId="{FF37EF16-4888-9DC7-3251-5E1C6D29965E}" created="2025-10-08T00:29:31.269">
    <pc:sldMkLst xmlns:pc="http://schemas.microsoft.com/office/powerpoint/2013/main/command">
      <pc:docMk/>
      <pc:sldMk cId="3943527501" sldId="1448943062"/>
    </pc:sldMkLst>
    <p188:txBody>
      <a:bodyPr/>
      <a:lstStyle/>
      <a:p>
        <a:r>
          <a:rPr lang="en-US"/>
          <a:t>[@Kuruva, Janardhan] Please add timeline till end of current internship, till Oct 17th (if I am not mistaken). And fill that with documentation part.</a:t>
        </a:r>
      </a:p>
    </p188:txBody>
  </p188:cm>
</p188:cmLst>
</file>

<file path=ppt/comments/modernComment_565D1DDF_2D01562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50DB9F0-0AEA-48AB-8D8A-52271747A6A2}" authorId="{FF37EF16-4888-9DC7-3251-5E1C6D29965E}" created="2025-08-12T09:44:14.960">
    <pc:sldMkLst xmlns:pc="http://schemas.microsoft.com/office/powerpoint/2013/main/command">
      <pc:docMk/>
      <pc:sldMk cId="755062318" sldId="1448943071"/>
    </pc:sldMkLst>
    <p188:txBody>
      <a:bodyPr/>
      <a:lstStyle/>
      <a:p>
        <a:r>
          <a:rPr lang="en-US"/>
          <a:t>[@Kuruva, Janardhan]  add what tools and technology you are using as a logo at the bottom.</a:t>
        </a:r>
      </a:p>
    </p188:txBody>
  </p188:cm>
  <p188:cm id="{12DB346A-C474-4E23-A51F-AADB4CBE0786}" authorId="{FF37EF16-4888-9DC7-3251-5E1C6D29965E}" created="2025-08-12T09:48:34.74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755062318" sldId="1448943071"/>
      <ac:picMk id="6" creationId="{5FF6F60C-E5A2-FE81-1BAB-14DFB1A023AB}"/>
    </ac:deMkLst>
    <p188:txBody>
      <a:bodyPr/>
      <a:lstStyle/>
      <a:p>
        <a:r>
          <a:rPr lang="en-US"/>
          <a:t>[@Kuruva, Janardhan]  added a workflow diagram from website for reference. We can create something similar as a workflow of your process.
Please create a workflow diagram and get it review by Abhishek.</a:t>
        </a:r>
      </a:p>
    </p188:txBody>
  </p188:cm>
</p188:cmLst>
</file>

<file path=ppt/comments/modernComment_565D1DE4_FF48E54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35267AB-C6CD-4E60-A734-A79952FAEE98}" authorId="{FF37EF16-4888-9DC7-3251-5E1C6D29965E}" created="2025-08-12T10:13:03.447">
    <pc:sldMkLst xmlns:pc="http://schemas.microsoft.com/office/powerpoint/2013/main/command">
      <pc:docMk/>
      <pc:sldMk cId="2167006714" sldId="257"/>
    </pc:sldMkLst>
    <p188:replyLst>
      <p188:reply id="{A56AEA3E-9159-4BC2-8DA1-1335C8651E14}" authorId="{FF37EF16-4888-9DC7-3251-5E1C6D29965E}" created="2025-08-13T18:03:56.530">
        <p188:txBody>
          <a:bodyPr/>
          <a:lstStyle/>
          <a:p>
            <a:r>
              <a:rPr lang="en-US"/>
              <a:t>Lets merge this slide with slide #7</a:t>
            </a:r>
          </a:p>
        </p188:txBody>
      </p188:reply>
    </p188:replyLst>
    <p188:txBody>
      <a:bodyPr/>
      <a:lstStyle/>
      <a:p>
        <a:r>
          <a:rPr lang="en-US"/>
          <a:t>[@Kuruva, Janardhan]  Are you still working on this slide? And is there any more information need to be added?
If no, then delete this slide please.</a:t>
        </a:r>
      </a:p>
    </p188:txBody>
  </p188:cm>
</p188:cmLst>
</file>

<file path=ppt/comments/modernComment_565D1DE6_CB4E179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B604989-AF01-4193-8640-17608D4303DD}" authorId="{FF37EF16-4888-9DC7-3251-5E1C6D29965E}" created="2025-08-13T17:31:49.004">
    <pc:sldMkLst xmlns:pc="http://schemas.microsoft.com/office/powerpoint/2013/main/command">
      <pc:docMk/>
      <pc:sldMk cId="3410892695" sldId="1448943078"/>
    </pc:sldMkLst>
    <p188:replyLst>
      <p188:reply id="{809D94BC-3F19-48E6-92EA-9E410C8137C1}" authorId="{FF37EF16-4888-9DC7-3251-5E1C6D29965E}" created="2025-08-18T17:51:30.969">
        <p188:txBody>
          <a:bodyPr/>
          <a:lstStyle/>
          <a:p>
            <a:r>
              <a:rPr lang="en-US"/>
              <a:t>Suggesting to use this as a talking points</a:t>
            </a:r>
          </a:p>
        </p188:txBody>
      </p188:reply>
    </p188:replyLst>
    <p188:txBody>
      <a:bodyPr/>
      <a:lstStyle/>
      <a:p>
        <a:r>
          <a:rPr lang="en-US"/>
          <a:t>Add descriptive heading: multiple approach for legislative wesites</a:t>
        </a:r>
      </a:p>
    </p188:txBody>
  </p188:cm>
</p188:cmLst>
</file>

<file path=ppt/comments/modernComment_565D1DF3_CB3F907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01E9C77-873A-4271-8D5C-F7C9461CEF52}" authorId="{FF37EF16-4888-9DC7-3251-5E1C6D29965E}" created="2025-10-08T01:03:28.931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409940606" sldId="1448943091"/>
      <ac:spMk id="7" creationId="{3D76F4EB-A8A3-7C65-EF15-1D558E006B09}"/>
      <ac:txMk cp="0">
        <ac:context len="300" hash="1171967065"/>
      </ac:txMk>
    </ac:txMkLst>
    <p188:pos x="2114593" y="282390"/>
    <p188:txBody>
      <a:bodyPr/>
      <a:lstStyle/>
      <a:p>
        <a:r>
          <a:rPr lang="en-US"/>
          <a:t>[@Kuruva, Janardhan]  what does smaller scope means?</a:t>
        </a:r>
      </a:p>
    </p188:txBody>
  </p188:cm>
  <p188:cm id="{0B5ABCDB-0F63-4244-85C2-364BC71ECFCA}" authorId="{FF37EF16-4888-9DC7-3251-5E1C6D29965E}" created="2025-10-08T01:05:34.429">
    <pc:sldMkLst xmlns:pc="http://schemas.microsoft.com/office/powerpoint/2013/main/command">
      <pc:docMk/>
      <pc:sldMk cId="3409940606" sldId="1448943091"/>
    </pc:sldMkLst>
    <p188:txBody>
      <a:bodyPr/>
      <a:lstStyle/>
      <a:p>
        <a:r>
          <a:rPr lang="en-US"/>
          <a:t>I like the intent and visual but I am not following the example. If a claim is coming oos, i.e., without a reference claim, Cotiviti cannot edit it.</a:t>
        </a:r>
      </a:p>
    </p188:txBody>
  </p188:cm>
  <p188:cm id="{424C393F-E494-4E6A-8963-F19C2F20A53A}" authorId="{FF37EF16-4888-9DC7-3251-5E1C6D29965E}" created="2025-10-08T01:06:05.24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409940606" sldId="1448943091"/>
      <ac:spMk id="79" creationId="{D26BAA86-2047-EDF8-0AA2-30BBB23B14F9}"/>
      <ac:txMk cp="0">
        <ac:context len="256" hash="3044688878"/>
      </ac:txMk>
    </ac:txMkLst>
    <p188:pos x="5658761" y="278729"/>
    <p188:txBody>
      <a:bodyPr/>
      <a:lstStyle/>
      <a:p>
        <a:r>
          <a:rPr lang="en-US"/>
          <a:t>[@Kuruva, Janardhan]  why smaller one? It could have been a high dollar claim too, right?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AEA8058-0B32-4257-8049-27D8928E814F}" type="doc">
      <dgm:prSet loTypeId="urn:microsoft.com/office/officeart/2005/8/layout/hList1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9879045F-CB48-4F9E-A1E1-7BA628D93146}">
      <dgm:prSet/>
      <dgm:spPr>
        <a:solidFill>
          <a:schemeClr val="accent2"/>
        </a:solidFill>
      </dgm:spPr>
      <dgm:t>
        <a:bodyPr/>
        <a:lstStyle/>
        <a:p>
          <a:r>
            <a:rPr lang="en-US" b="1" baseline="0">
              <a:solidFill>
                <a:schemeClr val="bg1"/>
              </a:solidFill>
            </a:rPr>
            <a:t>Problem Statement</a:t>
          </a:r>
          <a:endParaRPr lang="en-US">
            <a:solidFill>
              <a:schemeClr val="bg1"/>
            </a:solidFill>
          </a:endParaRPr>
        </a:p>
      </dgm:t>
    </dgm:pt>
    <dgm:pt modelId="{6BB18A09-B793-473B-BE88-D9BF257B91C8}" type="parTrans" cxnId="{C5BF05FC-DB30-472C-8506-94EAEEBCCE43}">
      <dgm:prSet/>
      <dgm:spPr/>
      <dgm:t>
        <a:bodyPr/>
        <a:lstStyle/>
        <a:p>
          <a:endParaRPr lang="en-US"/>
        </a:p>
      </dgm:t>
    </dgm:pt>
    <dgm:pt modelId="{6C0530A2-FC59-48F4-8226-7FAB200C86B4}" type="sibTrans" cxnId="{C5BF05FC-DB30-472C-8506-94EAEEBCCE43}">
      <dgm:prSet/>
      <dgm:spPr/>
      <dgm:t>
        <a:bodyPr/>
        <a:lstStyle/>
        <a:p>
          <a:endParaRPr lang="en-US"/>
        </a:p>
      </dgm:t>
    </dgm:pt>
    <dgm:pt modelId="{F067FFF4-C96A-4A57-A534-FB5A33AB820B}">
      <dgm:prSet/>
      <dgm:spPr>
        <a:ln>
          <a:solidFill>
            <a:schemeClr val="accent2">
              <a:alpha val="90000"/>
            </a:schemeClr>
          </a:solidFill>
        </a:ln>
      </dgm:spPr>
      <dgm:t>
        <a:bodyPr/>
        <a:lstStyle/>
        <a:p>
          <a:r>
            <a:rPr lang="en-US" baseline="0" dirty="0"/>
            <a:t>Manual monitoring of multiple federal and state websites for legislative updates</a:t>
          </a:r>
          <a:endParaRPr lang="en-US" dirty="0"/>
        </a:p>
      </dgm:t>
    </dgm:pt>
    <dgm:pt modelId="{1983EC8B-6AC9-4691-B7B9-A36FD5AC9120}" type="parTrans" cxnId="{34C7B80A-E0A4-4149-8A27-E131FDE6FAA9}">
      <dgm:prSet/>
      <dgm:spPr/>
      <dgm:t>
        <a:bodyPr/>
        <a:lstStyle/>
        <a:p>
          <a:endParaRPr lang="en-US"/>
        </a:p>
      </dgm:t>
    </dgm:pt>
    <dgm:pt modelId="{745D013C-85F6-4567-A0FD-DCCB049F5AE5}" type="sibTrans" cxnId="{34C7B80A-E0A4-4149-8A27-E131FDE6FAA9}">
      <dgm:prSet/>
      <dgm:spPr/>
      <dgm:t>
        <a:bodyPr/>
        <a:lstStyle/>
        <a:p>
          <a:endParaRPr lang="en-US"/>
        </a:p>
      </dgm:t>
    </dgm:pt>
    <dgm:pt modelId="{CAECF021-D643-434D-8768-F9F57CD66E1A}">
      <dgm:prSet/>
      <dgm:spPr>
        <a:ln>
          <a:solidFill>
            <a:schemeClr val="accent2">
              <a:alpha val="90000"/>
            </a:schemeClr>
          </a:solidFill>
        </a:ln>
      </dgm:spPr>
      <dgm:t>
        <a:bodyPr/>
        <a:lstStyle/>
        <a:p>
          <a:r>
            <a:rPr lang="en-US" baseline="0"/>
            <a:t>Legal team extracts and enters data into Excel spreadsheets</a:t>
          </a:r>
          <a:endParaRPr lang="en-US"/>
        </a:p>
      </dgm:t>
    </dgm:pt>
    <dgm:pt modelId="{B4C6E45B-3A9F-45BA-A12F-D56C0FC04018}" type="parTrans" cxnId="{71AF2154-723F-403C-9567-D928973FDA68}">
      <dgm:prSet/>
      <dgm:spPr/>
      <dgm:t>
        <a:bodyPr/>
        <a:lstStyle/>
        <a:p>
          <a:endParaRPr lang="en-US"/>
        </a:p>
      </dgm:t>
    </dgm:pt>
    <dgm:pt modelId="{679AEF42-4108-4359-A502-3EF10CED7264}" type="sibTrans" cxnId="{71AF2154-723F-403C-9567-D928973FDA68}">
      <dgm:prSet/>
      <dgm:spPr/>
      <dgm:t>
        <a:bodyPr/>
        <a:lstStyle/>
        <a:p>
          <a:endParaRPr lang="en-US"/>
        </a:p>
      </dgm:t>
    </dgm:pt>
    <dgm:pt modelId="{B3BDE01D-4359-4485-974A-C65904297FB3}">
      <dgm:prSet/>
      <dgm:spPr>
        <a:ln>
          <a:solidFill>
            <a:schemeClr val="accent2">
              <a:alpha val="90000"/>
            </a:schemeClr>
          </a:solidFill>
        </a:ln>
      </dgm:spPr>
      <dgm:t>
        <a:bodyPr/>
        <a:lstStyle/>
        <a:p>
          <a:r>
            <a:rPr lang="en-US" baseline="0"/>
            <a:t>Inconsistent formats and update schedules create complexity</a:t>
          </a:r>
          <a:endParaRPr lang="en-US"/>
        </a:p>
      </dgm:t>
    </dgm:pt>
    <dgm:pt modelId="{C5B2BD50-7024-43BD-BCC6-7114C08E7FF9}" type="parTrans" cxnId="{C4E68D68-244D-48FC-9FA7-9694B7F472A7}">
      <dgm:prSet/>
      <dgm:spPr/>
      <dgm:t>
        <a:bodyPr/>
        <a:lstStyle/>
        <a:p>
          <a:endParaRPr lang="en-US"/>
        </a:p>
      </dgm:t>
    </dgm:pt>
    <dgm:pt modelId="{5FA1E819-A66F-4C04-A770-31FCFA2DA103}" type="sibTrans" cxnId="{C4E68D68-244D-48FC-9FA7-9694B7F472A7}">
      <dgm:prSet/>
      <dgm:spPr/>
      <dgm:t>
        <a:bodyPr/>
        <a:lstStyle/>
        <a:p>
          <a:endParaRPr lang="en-US"/>
        </a:p>
      </dgm:t>
    </dgm:pt>
    <dgm:pt modelId="{BA2A8E41-E54E-46D1-90FE-46519BBE3369}">
      <dgm:prSet/>
      <dgm:spPr>
        <a:ln>
          <a:solidFill>
            <a:schemeClr val="accent2">
              <a:alpha val="90000"/>
            </a:schemeClr>
          </a:solidFill>
        </a:ln>
      </dgm:spPr>
      <dgm:t>
        <a:bodyPr/>
        <a:lstStyle/>
        <a:p>
          <a:r>
            <a:rPr lang="en-US" baseline="0"/>
            <a:t>Difficult to quickly identify regulatory impacts on Cotiviti’s solutions</a:t>
          </a:r>
          <a:endParaRPr lang="en-US"/>
        </a:p>
      </dgm:t>
    </dgm:pt>
    <dgm:pt modelId="{A2AAE610-E2B7-447B-A31F-D4E1FBE45943}" type="parTrans" cxnId="{6B62A722-1E95-4E32-A35D-369A40B3EF14}">
      <dgm:prSet/>
      <dgm:spPr/>
      <dgm:t>
        <a:bodyPr/>
        <a:lstStyle/>
        <a:p>
          <a:endParaRPr lang="en-US"/>
        </a:p>
      </dgm:t>
    </dgm:pt>
    <dgm:pt modelId="{DB34B052-F801-41CE-863E-5931EE6E2879}" type="sibTrans" cxnId="{6B62A722-1E95-4E32-A35D-369A40B3EF14}">
      <dgm:prSet/>
      <dgm:spPr/>
      <dgm:t>
        <a:bodyPr/>
        <a:lstStyle/>
        <a:p>
          <a:endParaRPr lang="en-US"/>
        </a:p>
      </dgm:t>
    </dgm:pt>
    <dgm:pt modelId="{77A8CC80-99CF-4E16-BBB4-B14B2AA109AB}" type="pres">
      <dgm:prSet presAssocID="{2AEA8058-0B32-4257-8049-27D8928E814F}" presName="Name0" presStyleCnt="0">
        <dgm:presLayoutVars>
          <dgm:dir/>
          <dgm:animLvl val="lvl"/>
          <dgm:resizeHandles val="exact"/>
        </dgm:presLayoutVars>
      </dgm:prSet>
      <dgm:spPr/>
    </dgm:pt>
    <dgm:pt modelId="{596F1674-117C-4E89-946A-776C36B1E362}" type="pres">
      <dgm:prSet presAssocID="{9879045F-CB48-4F9E-A1E1-7BA628D93146}" presName="composite" presStyleCnt="0"/>
      <dgm:spPr/>
    </dgm:pt>
    <dgm:pt modelId="{83C645C3-E0A9-426B-9321-E80F9770743E}" type="pres">
      <dgm:prSet presAssocID="{9879045F-CB48-4F9E-A1E1-7BA628D93146}" presName="parTx" presStyleLbl="alignNode1" presStyleIdx="0" presStyleCnt="1">
        <dgm:presLayoutVars>
          <dgm:chMax val="0"/>
          <dgm:chPref val="0"/>
          <dgm:bulletEnabled val="1"/>
        </dgm:presLayoutVars>
      </dgm:prSet>
      <dgm:spPr/>
    </dgm:pt>
    <dgm:pt modelId="{7DB1943B-CA76-4B9D-A0E0-A57BB724DC1B}" type="pres">
      <dgm:prSet presAssocID="{9879045F-CB48-4F9E-A1E1-7BA628D93146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34C7B80A-E0A4-4149-8A27-E131FDE6FAA9}" srcId="{9879045F-CB48-4F9E-A1E1-7BA628D93146}" destId="{F067FFF4-C96A-4A57-A534-FB5A33AB820B}" srcOrd="0" destOrd="0" parTransId="{1983EC8B-6AC9-4691-B7B9-A36FD5AC9120}" sibTransId="{745D013C-85F6-4567-A0FD-DCCB049F5AE5}"/>
    <dgm:cxn modelId="{6B62A722-1E95-4E32-A35D-369A40B3EF14}" srcId="{9879045F-CB48-4F9E-A1E1-7BA628D93146}" destId="{BA2A8E41-E54E-46D1-90FE-46519BBE3369}" srcOrd="3" destOrd="0" parTransId="{A2AAE610-E2B7-447B-A31F-D4E1FBE45943}" sibTransId="{DB34B052-F801-41CE-863E-5931EE6E2879}"/>
    <dgm:cxn modelId="{CFA71329-4096-4894-8A12-1F652A0EA860}" type="presOf" srcId="{F067FFF4-C96A-4A57-A534-FB5A33AB820B}" destId="{7DB1943B-CA76-4B9D-A0E0-A57BB724DC1B}" srcOrd="0" destOrd="0" presId="urn:microsoft.com/office/officeart/2005/8/layout/hList1"/>
    <dgm:cxn modelId="{726A6346-48A4-4E47-AE75-11469940F313}" type="presOf" srcId="{CAECF021-D643-434D-8768-F9F57CD66E1A}" destId="{7DB1943B-CA76-4B9D-A0E0-A57BB724DC1B}" srcOrd="0" destOrd="1" presId="urn:microsoft.com/office/officeart/2005/8/layout/hList1"/>
    <dgm:cxn modelId="{C4E68D68-244D-48FC-9FA7-9694B7F472A7}" srcId="{9879045F-CB48-4F9E-A1E1-7BA628D93146}" destId="{B3BDE01D-4359-4485-974A-C65904297FB3}" srcOrd="2" destOrd="0" parTransId="{C5B2BD50-7024-43BD-BCC6-7114C08E7FF9}" sibTransId="{5FA1E819-A66F-4C04-A770-31FCFA2DA103}"/>
    <dgm:cxn modelId="{A6BB4971-53A4-4444-AAB2-84893A1BBBCF}" type="presOf" srcId="{B3BDE01D-4359-4485-974A-C65904297FB3}" destId="{7DB1943B-CA76-4B9D-A0E0-A57BB724DC1B}" srcOrd="0" destOrd="2" presId="urn:microsoft.com/office/officeart/2005/8/layout/hList1"/>
    <dgm:cxn modelId="{71AF2154-723F-403C-9567-D928973FDA68}" srcId="{9879045F-CB48-4F9E-A1E1-7BA628D93146}" destId="{CAECF021-D643-434D-8768-F9F57CD66E1A}" srcOrd="1" destOrd="0" parTransId="{B4C6E45B-3A9F-45BA-A12F-D56C0FC04018}" sibTransId="{679AEF42-4108-4359-A502-3EF10CED7264}"/>
    <dgm:cxn modelId="{E8B9019C-0A10-48BD-BF18-F31AAA6F04A9}" type="presOf" srcId="{BA2A8E41-E54E-46D1-90FE-46519BBE3369}" destId="{7DB1943B-CA76-4B9D-A0E0-A57BB724DC1B}" srcOrd="0" destOrd="3" presId="urn:microsoft.com/office/officeart/2005/8/layout/hList1"/>
    <dgm:cxn modelId="{1302BDB0-5246-4E46-9702-B3F4C157A078}" type="presOf" srcId="{9879045F-CB48-4F9E-A1E1-7BA628D93146}" destId="{83C645C3-E0A9-426B-9321-E80F9770743E}" srcOrd="0" destOrd="0" presId="urn:microsoft.com/office/officeart/2005/8/layout/hList1"/>
    <dgm:cxn modelId="{51704BE5-F98A-4DD5-81C2-A9FAC93F5418}" type="presOf" srcId="{2AEA8058-0B32-4257-8049-27D8928E814F}" destId="{77A8CC80-99CF-4E16-BBB4-B14B2AA109AB}" srcOrd="0" destOrd="0" presId="urn:microsoft.com/office/officeart/2005/8/layout/hList1"/>
    <dgm:cxn modelId="{C5BF05FC-DB30-472C-8506-94EAEEBCCE43}" srcId="{2AEA8058-0B32-4257-8049-27D8928E814F}" destId="{9879045F-CB48-4F9E-A1E1-7BA628D93146}" srcOrd="0" destOrd="0" parTransId="{6BB18A09-B793-473B-BE88-D9BF257B91C8}" sibTransId="{6C0530A2-FC59-48F4-8226-7FAB200C86B4}"/>
    <dgm:cxn modelId="{087CFCA2-3074-42D7-8195-DA64964D8237}" type="presParOf" srcId="{77A8CC80-99CF-4E16-BBB4-B14B2AA109AB}" destId="{596F1674-117C-4E89-946A-776C36B1E362}" srcOrd="0" destOrd="0" presId="urn:microsoft.com/office/officeart/2005/8/layout/hList1"/>
    <dgm:cxn modelId="{21073FDE-F7E5-4307-AB51-E4FE7D767537}" type="presParOf" srcId="{596F1674-117C-4E89-946A-776C36B1E362}" destId="{83C645C3-E0A9-426B-9321-E80F9770743E}" srcOrd="0" destOrd="0" presId="urn:microsoft.com/office/officeart/2005/8/layout/hList1"/>
    <dgm:cxn modelId="{0B2F0811-259A-46D4-B838-0AFCC84CDE36}" type="presParOf" srcId="{596F1674-117C-4E89-946A-776C36B1E362}" destId="{7DB1943B-CA76-4B9D-A0E0-A57BB724DC1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1E0EC73-818F-43CD-A808-2873496EE389}" type="doc">
      <dgm:prSet loTypeId="urn:microsoft.com/office/officeart/2005/8/layout/hList1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277A080C-3AC2-44A6-B3F5-37C9A60CE811}">
      <dgm:prSet/>
      <dgm:spPr>
        <a:solidFill>
          <a:schemeClr val="accent2"/>
        </a:solidFill>
      </dgm:spPr>
      <dgm:t>
        <a:bodyPr/>
        <a:lstStyle/>
        <a:p>
          <a:r>
            <a:rPr lang="en-US" b="1" baseline="0">
              <a:solidFill>
                <a:schemeClr val="bg1"/>
              </a:solidFill>
            </a:rPr>
            <a:t>Proposed Solution</a:t>
          </a:r>
          <a:endParaRPr lang="en-US">
            <a:solidFill>
              <a:schemeClr val="bg1"/>
            </a:solidFill>
          </a:endParaRPr>
        </a:p>
      </dgm:t>
    </dgm:pt>
    <dgm:pt modelId="{37AA5F08-47F4-4B53-904F-2ACE7B7B1D71}" type="parTrans" cxnId="{109F0E8B-FF78-4DF1-ADC3-C1862A0B77BF}">
      <dgm:prSet/>
      <dgm:spPr/>
      <dgm:t>
        <a:bodyPr/>
        <a:lstStyle/>
        <a:p>
          <a:endParaRPr lang="en-US"/>
        </a:p>
      </dgm:t>
    </dgm:pt>
    <dgm:pt modelId="{9CBFAF2A-34C4-4191-BC8E-117ECEDAEFE3}" type="sibTrans" cxnId="{109F0E8B-FF78-4DF1-ADC3-C1862A0B77BF}">
      <dgm:prSet/>
      <dgm:spPr/>
      <dgm:t>
        <a:bodyPr/>
        <a:lstStyle/>
        <a:p>
          <a:endParaRPr lang="en-US"/>
        </a:p>
      </dgm:t>
    </dgm:pt>
    <dgm:pt modelId="{257B7010-1490-4416-8977-4AE176F76B93}">
      <dgm:prSet/>
      <dgm:spPr/>
      <dgm:t>
        <a:bodyPr/>
        <a:lstStyle/>
        <a:p>
          <a:r>
            <a:rPr lang="en-US" baseline="0"/>
            <a:t>Automate extraction of legislative data into a centralized Regulatory Tracker</a:t>
          </a:r>
          <a:endParaRPr lang="en-US"/>
        </a:p>
      </dgm:t>
    </dgm:pt>
    <dgm:pt modelId="{22E50BD0-CA54-4A0C-A94F-8590D1D9FD6B}" type="parTrans" cxnId="{AB67AE6B-8A2F-4579-8C33-F66D8E8D741E}">
      <dgm:prSet/>
      <dgm:spPr/>
      <dgm:t>
        <a:bodyPr/>
        <a:lstStyle/>
        <a:p>
          <a:endParaRPr lang="en-US"/>
        </a:p>
      </dgm:t>
    </dgm:pt>
    <dgm:pt modelId="{8857B2C9-32FE-4C02-8C23-82D5E55A90F5}" type="sibTrans" cxnId="{AB67AE6B-8A2F-4579-8C33-F66D8E8D741E}">
      <dgm:prSet/>
      <dgm:spPr/>
      <dgm:t>
        <a:bodyPr/>
        <a:lstStyle/>
        <a:p>
          <a:endParaRPr lang="en-US"/>
        </a:p>
      </dgm:t>
    </dgm:pt>
    <dgm:pt modelId="{B50C87D4-B7C4-4EDC-83A6-D5E351F1E197}">
      <dgm:prSet/>
      <dgm:spPr/>
      <dgm:t>
        <a:bodyPr/>
        <a:lstStyle/>
        <a:p>
          <a:r>
            <a:rPr lang="en-US" baseline="0"/>
            <a:t>Use AI chatbot for quick searches and proactive alerts</a:t>
          </a:r>
          <a:endParaRPr lang="en-US"/>
        </a:p>
      </dgm:t>
    </dgm:pt>
    <dgm:pt modelId="{7E0148A7-12D1-42C6-8FAC-9870097FE18E}" type="parTrans" cxnId="{44098D9B-84DC-486B-AF8C-3E7DFA053B9C}">
      <dgm:prSet/>
      <dgm:spPr/>
      <dgm:t>
        <a:bodyPr/>
        <a:lstStyle/>
        <a:p>
          <a:endParaRPr lang="en-US"/>
        </a:p>
      </dgm:t>
    </dgm:pt>
    <dgm:pt modelId="{8F76DFDD-E9BB-462C-9BA4-2112B29BC8BC}" type="sibTrans" cxnId="{44098D9B-84DC-486B-AF8C-3E7DFA053B9C}">
      <dgm:prSet/>
      <dgm:spPr/>
      <dgm:t>
        <a:bodyPr/>
        <a:lstStyle/>
        <a:p>
          <a:endParaRPr lang="en-US"/>
        </a:p>
      </dgm:t>
    </dgm:pt>
    <dgm:pt modelId="{8D7E0522-9340-462A-8F09-849A32F8353A}">
      <dgm:prSet/>
      <dgm:spPr/>
      <dgm:t>
        <a:bodyPr/>
        <a:lstStyle/>
        <a:p>
          <a:r>
            <a:rPr lang="en-US" baseline="0"/>
            <a:t>Standardize data capture across all states and territories to improve efficiency and reliability</a:t>
          </a:r>
          <a:endParaRPr lang="en-US"/>
        </a:p>
      </dgm:t>
    </dgm:pt>
    <dgm:pt modelId="{ABDC6E1E-6347-4D5E-9EB5-B65443D7A37B}" type="parTrans" cxnId="{1D22441D-1A54-49C8-B3B4-9A89D993750D}">
      <dgm:prSet/>
      <dgm:spPr/>
      <dgm:t>
        <a:bodyPr/>
        <a:lstStyle/>
        <a:p>
          <a:endParaRPr lang="en-US"/>
        </a:p>
      </dgm:t>
    </dgm:pt>
    <dgm:pt modelId="{27A78E6B-D596-4568-8F8C-D4CF8237DCEF}" type="sibTrans" cxnId="{1D22441D-1A54-49C8-B3B4-9A89D993750D}">
      <dgm:prSet/>
      <dgm:spPr/>
      <dgm:t>
        <a:bodyPr/>
        <a:lstStyle/>
        <a:p>
          <a:endParaRPr lang="en-US"/>
        </a:p>
      </dgm:t>
    </dgm:pt>
    <dgm:pt modelId="{BBFF7DFF-D806-4FC6-A88A-630B8B69D4DA}">
      <dgm:prSet/>
      <dgm:spPr/>
      <dgm:t>
        <a:bodyPr/>
        <a:lstStyle/>
        <a:p>
          <a:endParaRPr lang="en-US"/>
        </a:p>
      </dgm:t>
    </dgm:pt>
    <dgm:pt modelId="{DC81FF88-AE77-499B-A96F-B8E510F738EB}" type="parTrans" cxnId="{242F2695-F337-466E-A460-A66D9C56ED34}">
      <dgm:prSet/>
      <dgm:spPr/>
      <dgm:t>
        <a:bodyPr/>
        <a:lstStyle/>
        <a:p>
          <a:endParaRPr lang="en-US"/>
        </a:p>
      </dgm:t>
    </dgm:pt>
    <dgm:pt modelId="{8BAB5433-0012-45A7-A818-BBB8E54D4734}" type="sibTrans" cxnId="{242F2695-F337-466E-A460-A66D9C56ED34}">
      <dgm:prSet/>
      <dgm:spPr/>
      <dgm:t>
        <a:bodyPr/>
        <a:lstStyle/>
        <a:p>
          <a:endParaRPr lang="en-US"/>
        </a:p>
      </dgm:t>
    </dgm:pt>
    <dgm:pt modelId="{7BC3CA35-0EBD-4BA1-924D-4DBDAB47FCE8}">
      <dgm:prSet/>
      <dgm:spPr/>
      <dgm:t>
        <a:bodyPr/>
        <a:lstStyle/>
        <a:p>
          <a:endParaRPr lang="en-US"/>
        </a:p>
      </dgm:t>
    </dgm:pt>
    <dgm:pt modelId="{8E8C8187-1793-4AD9-9E70-E5EBDCC05AF9}" type="parTrans" cxnId="{E58216DE-3475-4C61-A9EF-AB00C3599FD5}">
      <dgm:prSet/>
      <dgm:spPr/>
      <dgm:t>
        <a:bodyPr/>
        <a:lstStyle/>
        <a:p>
          <a:endParaRPr lang="en-US"/>
        </a:p>
      </dgm:t>
    </dgm:pt>
    <dgm:pt modelId="{4769C677-D8CB-4D16-BF28-E03BB94A057A}" type="sibTrans" cxnId="{E58216DE-3475-4C61-A9EF-AB00C3599FD5}">
      <dgm:prSet/>
      <dgm:spPr/>
      <dgm:t>
        <a:bodyPr/>
        <a:lstStyle/>
        <a:p>
          <a:endParaRPr lang="en-US"/>
        </a:p>
      </dgm:t>
    </dgm:pt>
    <dgm:pt modelId="{F98BFC1B-B5FF-4870-86AD-856FBC60B17B}" type="pres">
      <dgm:prSet presAssocID="{71E0EC73-818F-43CD-A808-2873496EE389}" presName="Name0" presStyleCnt="0">
        <dgm:presLayoutVars>
          <dgm:dir/>
          <dgm:animLvl val="lvl"/>
          <dgm:resizeHandles val="exact"/>
        </dgm:presLayoutVars>
      </dgm:prSet>
      <dgm:spPr/>
    </dgm:pt>
    <dgm:pt modelId="{40EC1F2D-0857-4E79-A329-A243369C2876}" type="pres">
      <dgm:prSet presAssocID="{277A080C-3AC2-44A6-B3F5-37C9A60CE811}" presName="composite" presStyleCnt="0"/>
      <dgm:spPr/>
    </dgm:pt>
    <dgm:pt modelId="{888A0B52-BE7F-4FE8-B9A4-148746174222}" type="pres">
      <dgm:prSet presAssocID="{277A080C-3AC2-44A6-B3F5-37C9A60CE811}" presName="parTx" presStyleLbl="alignNode1" presStyleIdx="0" presStyleCnt="1">
        <dgm:presLayoutVars>
          <dgm:chMax val="0"/>
          <dgm:chPref val="0"/>
          <dgm:bulletEnabled val="1"/>
        </dgm:presLayoutVars>
      </dgm:prSet>
      <dgm:spPr/>
    </dgm:pt>
    <dgm:pt modelId="{E2430768-4779-4423-8341-EA5109812145}" type="pres">
      <dgm:prSet presAssocID="{277A080C-3AC2-44A6-B3F5-37C9A60CE811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9B684906-666A-4448-A21C-C93C21BA57D3}" type="presOf" srcId="{71E0EC73-818F-43CD-A808-2873496EE389}" destId="{F98BFC1B-B5FF-4870-86AD-856FBC60B17B}" srcOrd="0" destOrd="0" presId="urn:microsoft.com/office/officeart/2005/8/layout/hList1"/>
    <dgm:cxn modelId="{A00C151D-1446-4EE2-BF05-4983AD4B386B}" type="presOf" srcId="{B50C87D4-B7C4-4EDC-83A6-D5E351F1E197}" destId="{E2430768-4779-4423-8341-EA5109812145}" srcOrd="0" destOrd="2" presId="urn:microsoft.com/office/officeart/2005/8/layout/hList1"/>
    <dgm:cxn modelId="{1D22441D-1A54-49C8-B3B4-9A89D993750D}" srcId="{277A080C-3AC2-44A6-B3F5-37C9A60CE811}" destId="{8D7E0522-9340-462A-8F09-849A32F8353A}" srcOrd="4" destOrd="0" parTransId="{ABDC6E1E-6347-4D5E-9EB5-B65443D7A37B}" sibTransId="{27A78E6B-D596-4568-8F8C-D4CF8237DCEF}"/>
    <dgm:cxn modelId="{33BF4B32-5A09-4DEE-B9A0-8B337DB37896}" type="presOf" srcId="{257B7010-1490-4416-8977-4AE176F76B93}" destId="{E2430768-4779-4423-8341-EA5109812145}" srcOrd="0" destOrd="0" presId="urn:microsoft.com/office/officeart/2005/8/layout/hList1"/>
    <dgm:cxn modelId="{7C7B175E-DC94-41B8-A7A6-01787EBF0580}" type="presOf" srcId="{8D7E0522-9340-462A-8F09-849A32F8353A}" destId="{E2430768-4779-4423-8341-EA5109812145}" srcOrd="0" destOrd="4" presId="urn:microsoft.com/office/officeart/2005/8/layout/hList1"/>
    <dgm:cxn modelId="{19E1CC69-886E-4775-A8DC-20C85614C6CF}" type="presOf" srcId="{277A080C-3AC2-44A6-B3F5-37C9A60CE811}" destId="{888A0B52-BE7F-4FE8-B9A4-148746174222}" srcOrd="0" destOrd="0" presId="urn:microsoft.com/office/officeart/2005/8/layout/hList1"/>
    <dgm:cxn modelId="{AB67AE6B-8A2F-4579-8C33-F66D8E8D741E}" srcId="{277A080C-3AC2-44A6-B3F5-37C9A60CE811}" destId="{257B7010-1490-4416-8977-4AE176F76B93}" srcOrd="0" destOrd="0" parTransId="{22E50BD0-CA54-4A0C-A94F-8590D1D9FD6B}" sibTransId="{8857B2C9-32FE-4C02-8C23-82D5E55A90F5}"/>
    <dgm:cxn modelId="{109F0E8B-FF78-4DF1-ADC3-C1862A0B77BF}" srcId="{71E0EC73-818F-43CD-A808-2873496EE389}" destId="{277A080C-3AC2-44A6-B3F5-37C9A60CE811}" srcOrd="0" destOrd="0" parTransId="{37AA5F08-47F4-4B53-904F-2ACE7B7B1D71}" sibTransId="{9CBFAF2A-34C4-4191-BC8E-117ECEDAEFE3}"/>
    <dgm:cxn modelId="{242F2695-F337-466E-A460-A66D9C56ED34}" srcId="{277A080C-3AC2-44A6-B3F5-37C9A60CE811}" destId="{BBFF7DFF-D806-4FC6-A88A-630B8B69D4DA}" srcOrd="3" destOrd="0" parTransId="{DC81FF88-AE77-499B-A96F-B8E510F738EB}" sibTransId="{8BAB5433-0012-45A7-A818-BBB8E54D4734}"/>
    <dgm:cxn modelId="{44098D9B-84DC-486B-AF8C-3E7DFA053B9C}" srcId="{277A080C-3AC2-44A6-B3F5-37C9A60CE811}" destId="{B50C87D4-B7C4-4EDC-83A6-D5E351F1E197}" srcOrd="2" destOrd="0" parTransId="{7E0148A7-12D1-42C6-8FAC-9870097FE18E}" sibTransId="{8F76DFDD-E9BB-462C-9BA4-2112B29BC8BC}"/>
    <dgm:cxn modelId="{B78AAEAD-4740-4716-84DF-2066F8490700}" type="presOf" srcId="{7BC3CA35-0EBD-4BA1-924D-4DBDAB47FCE8}" destId="{E2430768-4779-4423-8341-EA5109812145}" srcOrd="0" destOrd="1" presId="urn:microsoft.com/office/officeart/2005/8/layout/hList1"/>
    <dgm:cxn modelId="{7402F3B8-ABB1-4ABE-BDEF-2884FDD0BFF3}" type="presOf" srcId="{BBFF7DFF-D806-4FC6-A88A-630B8B69D4DA}" destId="{E2430768-4779-4423-8341-EA5109812145}" srcOrd="0" destOrd="3" presId="urn:microsoft.com/office/officeart/2005/8/layout/hList1"/>
    <dgm:cxn modelId="{E58216DE-3475-4C61-A9EF-AB00C3599FD5}" srcId="{277A080C-3AC2-44A6-B3F5-37C9A60CE811}" destId="{7BC3CA35-0EBD-4BA1-924D-4DBDAB47FCE8}" srcOrd="1" destOrd="0" parTransId="{8E8C8187-1793-4AD9-9E70-E5EBDCC05AF9}" sibTransId="{4769C677-D8CB-4D16-BF28-E03BB94A057A}"/>
    <dgm:cxn modelId="{821B150B-AF39-42A7-8224-9F1ADFBCEE66}" type="presParOf" srcId="{F98BFC1B-B5FF-4870-86AD-856FBC60B17B}" destId="{40EC1F2D-0857-4E79-A329-A243369C2876}" srcOrd="0" destOrd="0" presId="urn:microsoft.com/office/officeart/2005/8/layout/hList1"/>
    <dgm:cxn modelId="{7F2FA539-1158-4A65-8CC9-05D8433EA96C}" type="presParOf" srcId="{40EC1F2D-0857-4E79-A329-A243369C2876}" destId="{888A0B52-BE7F-4FE8-B9A4-148746174222}" srcOrd="0" destOrd="0" presId="urn:microsoft.com/office/officeart/2005/8/layout/hList1"/>
    <dgm:cxn modelId="{4DB70599-41BB-4F35-95D0-EC9F74573F85}" type="presParOf" srcId="{40EC1F2D-0857-4E79-A329-A243369C2876}" destId="{E2430768-4779-4423-8341-EA5109812145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C645C3-E0A9-426B-9321-E80F9770743E}">
      <dsp:nvSpPr>
        <dsp:cNvPr id="0" name=""/>
        <dsp:cNvSpPr/>
      </dsp:nvSpPr>
      <dsp:spPr>
        <a:xfrm>
          <a:off x="0" y="34843"/>
          <a:ext cx="5540828" cy="576000"/>
        </a:xfrm>
        <a:prstGeom prst="rect">
          <a:avLst/>
        </a:prstGeom>
        <a:solidFill>
          <a:schemeClr val="accent2"/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baseline="0">
              <a:solidFill>
                <a:schemeClr val="bg1"/>
              </a:solidFill>
            </a:rPr>
            <a:t>Problem Statement</a:t>
          </a:r>
          <a:endParaRPr lang="en-US" sz="2000" kern="1200">
            <a:solidFill>
              <a:schemeClr val="bg1"/>
            </a:solidFill>
          </a:endParaRPr>
        </a:p>
      </dsp:txBody>
      <dsp:txXfrm>
        <a:off x="0" y="34843"/>
        <a:ext cx="5540828" cy="576000"/>
      </dsp:txXfrm>
    </dsp:sp>
    <dsp:sp modelId="{7DB1943B-CA76-4B9D-A0E0-A57BB724DC1B}">
      <dsp:nvSpPr>
        <dsp:cNvPr id="0" name=""/>
        <dsp:cNvSpPr/>
      </dsp:nvSpPr>
      <dsp:spPr>
        <a:xfrm>
          <a:off x="0" y="610843"/>
          <a:ext cx="5540828" cy="2964599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baseline="0" dirty="0"/>
            <a:t>Manual monitoring of multiple federal and state websites for legislative updates</a:t>
          </a:r>
          <a:endParaRPr 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baseline="0"/>
            <a:t>Legal team extracts and enters data into Excel spreadsheets</a:t>
          </a:r>
          <a:endParaRPr lang="en-US" sz="20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baseline="0"/>
            <a:t>Inconsistent formats and update schedules create complexity</a:t>
          </a:r>
          <a:endParaRPr lang="en-US" sz="20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baseline="0"/>
            <a:t>Difficult to quickly identify regulatory impacts on Cotiviti’s solutions</a:t>
          </a:r>
          <a:endParaRPr lang="en-US" sz="2000" kern="1200"/>
        </a:p>
      </dsp:txBody>
      <dsp:txXfrm>
        <a:off x="0" y="610843"/>
        <a:ext cx="5540828" cy="296459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8A0B52-BE7F-4FE8-B9A4-148746174222}">
      <dsp:nvSpPr>
        <dsp:cNvPr id="0" name=""/>
        <dsp:cNvSpPr/>
      </dsp:nvSpPr>
      <dsp:spPr>
        <a:xfrm>
          <a:off x="0" y="34843"/>
          <a:ext cx="5540374" cy="576000"/>
        </a:xfrm>
        <a:prstGeom prst="rect">
          <a:avLst/>
        </a:prstGeom>
        <a:solidFill>
          <a:schemeClr val="accent2"/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baseline="0">
              <a:solidFill>
                <a:schemeClr val="bg1"/>
              </a:solidFill>
            </a:rPr>
            <a:t>Proposed Solution</a:t>
          </a:r>
          <a:endParaRPr lang="en-US" sz="2000" kern="1200">
            <a:solidFill>
              <a:schemeClr val="bg1"/>
            </a:solidFill>
          </a:endParaRPr>
        </a:p>
      </dsp:txBody>
      <dsp:txXfrm>
        <a:off x="0" y="34843"/>
        <a:ext cx="5540374" cy="576000"/>
      </dsp:txXfrm>
    </dsp:sp>
    <dsp:sp modelId="{E2430768-4779-4423-8341-EA5109812145}">
      <dsp:nvSpPr>
        <dsp:cNvPr id="0" name=""/>
        <dsp:cNvSpPr/>
      </dsp:nvSpPr>
      <dsp:spPr>
        <a:xfrm>
          <a:off x="0" y="610843"/>
          <a:ext cx="5540374" cy="2964599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baseline="0"/>
            <a:t>Automate extraction of legislative data into a centralized Regulatory Tracker</a:t>
          </a:r>
          <a:endParaRPr lang="en-US" sz="20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baseline="0"/>
            <a:t>Use AI chatbot for quick searches and proactive alerts</a:t>
          </a:r>
          <a:endParaRPr lang="en-US" sz="20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baseline="0"/>
            <a:t>Standardize data capture across all states and territories to improve efficiency and reliability</a:t>
          </a:r>
          <a:endParaRPr lang="en-US" sz="2000" kern="1200"/>
        </a:p>
      </dsp:txBody>
      <dsp:txXfrm>
        <a:off x="0" y="610843"/>
        <a:ext cx="5540374" cy="29645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BB894-E1A7-FD43-A252-8B5A60C1F34A}" type="datetimeFigureOut">
              <a:rPr lang="en-US" smtClean="0">
                <a:latin typeface="Montserrat" panose="00000500000000000000" pitchFamily="2" charset="0"/>
              </a:rPr>
              <a:t>10/31/2025</a:t>
            </a:fld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DFAEE0-8029-A94B-802A-8A286C4D3FBB}" type="slidenum">
              <a:rPr lang="en-US" smtClean="0">
                <a:latin typeface="Montserrat" panose="00000500000000000000" pitchFamily="2" charset="0"/>
              </a:rPr>
              <a:t>‹#›</a:t>
            </a:fld>
            <a:endParaRPr lang="en-US">
              <a:latin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03324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Montserrat" panose="000005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Montserrat" panose="00000500000000000000" pitchFamily="2" charset="0"/>
              </a:defRPr>
            </a:lvl1pPr>
          </a:lstStyle>
          <a:p>
            <a:fld id="{51708FC6-91E6-4FF4-91B0-110CA1AA77DC}" type="datetimeFigureOut">
              <a:rPr lang="en-US" smtClean="0"/>
              <a:pPr/>
              <a:t>10/3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Montserrat" panose="000005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Montserrat" panose="00000500000000000000" pitchFamily="2" charset="0"/>
              </a:defRPr>
            </a:lvl1pPr>
          </a:lstStyle>
          <a:p>
            <a:fld id="{8E6A8658-EB80-4DD7-A912-B2638ECE9F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903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Montserrat" panose="00000500000000000000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Montserrat" panose="00000500000000000000" pitchFamily="2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Montserrat" panose="00000500000000000000" pitchFamily="2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Montserrat" panose="00000500000000000000" pitchFamily="2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Montserrat" panose="00000500000000000000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6A8658-EB80-4DD7-A912-B2638ECE9F4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05596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CD998A-09BA-B6C5-71AF-6EC823E3DC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4452ADB-478F-20F3-67BF-6D08D2D285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194B37-4393-B149-DC65-69D6A5475A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51353B-C3A2-C1C5-4125-CD6E3C6E1E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2722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1562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E64D46-63D5-8B26-CBC8-CD44BA45DA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24E4014-DE86-A892-314F-00B534AD910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9E384B-8A9B-98D8-60D2-B7120A6CA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5883FC-807B-239C-5853-4AC4C43CD7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6313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C4E83A-A2A6-D4C6-D341-679DB04B34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B28E9A4-5F96-54A1-864D-966EFB8FB7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ACCBB9-E2E9-4205-CA07-EC18D1E70F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9654F0-4608-B3C1-7BE3-34CE57465D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5645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00182-C2B1-4056-3E44-8992925762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66E2002-0E20-5E1E-BD21-2596650BFA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BC4D55C-D1B0-BA1F-4A06-9B486BA765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ake separate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E8D70A-8567-D07C-96AC-1635697228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93202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0827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0533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9940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8692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5008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eaLnBrk="1" fontAlgn="t" latinLnBrk="0" hangingPunct="1"/>
            <a:r>
              <a:rPr lang="en-US" sz="1200" b="1" i="0" u="none" strike="noStrike" kern="1200">
                <a:solidFill>
                  <a:schemeClr val="tx1"/>
                </a:solidFill>
                <a:effectLst/>
                <a:latin typeface="Montserrat" panose="00000500000000000000" pitchFamily="2" charset="0"/>
                <a:ea typeface="+mn-ea"/>
                <a:cs typeface="+mn-cs"/>
              </a:rPr>
              <a:t>Project Phases</a:t>
            </a:r>
            <a:endParaRPr lang="en-US" sz="1200" b="0" i="0" u="none" strike="noStrike" kern="1200">
              <a:solidFill>
                <a:schemeClr val="tx1"/>
              </a:solidFill>
              <a:effectLst/>
              <a:latin typeface="Montserrat" panose="00000500000000000000" pitchFamily="2" charset="0"/>
              <a:ea typeface="+mn-ea"/>
              <a:cs typeface="+mn-cs"/>
            </a:endParaRPr>
          </a:p>
          <a:p>
            <a:pPr rtl="0" eaLnBrk="1" fontAlgn="t" latinLnBrk="0" hangingPunct="1"/>
            <a:r>
              <a:rPr lang="en-US" sz="1200" b="1" i="0" u="none" strike="noStrike" kern="1200">
                <a:solidFill>
                  <a:schemeClr val="tx1"/>
                </a:solidFill>
                <a:effectLst/>
                <a:latin typeface="Montserrat" panose="00000500000000000000" pitchFamily="2" charset="0"/>
                <a:ea typeface="+mn-ea"/>
                <a:cs typeface="+mn-cs"/>
              </a:rPr>
              <a:t>Project Scope</a:t>
            </a:r>
            <a:endParaRPr lang="en-US" sz="1200" b="0" i="0" u="none" strike="noStrike" kern="1200">
              <a:solidFill>
                <a:schemeClr val="tx1"/>
              </a:solidFill>
              <a:effectLst/>
              <a:latin typeface="Montserrat" panose="00000500000000000000" pitchFamily="2" charset="0"/>
              <a:ea typeface="+mn-ea"/>
              <a:cs typeface="+mn-cs"/>
            </a:endParaRPr>
          </a:p>
          <a:p>
            <a:pPr rtl="0" eaLnBrk="1" fontAlgn="t" latinLnBrk="0" hangingPunct="1"/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Montserrat" panose="00000500000000000000" pitchFamily="2" charset="0"/>
                <a:ea typeface="+mn-ea"/>
                <a:cs typeface="+mn-cs"/>
              </a:rPr>
              <a:t>Phase I</a:t>
            </a:r>
          </a:p>
          <a:p>
            <a:pPr rtl="0" eaLnBrk="1" fontAlgn="auto" latinLnBrk="0" hangingPunct="1"/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Montserrat" panose="00000500000000000000" pitchFamily="2" charset="0"/>
                <a:ea typeface="+mn-ea"/>
                <a:cs typeface="+mn-cs"/>
              </a:rPr>
              <a:t>Automate Data Collection from 51 States Legislative Websites</a:t>
            </a:r>
          </a:p>
          <a:p>
            <a:pPr rtl="0" eaLnBrk="1" fontAlgn="t" latinLnBrk="0" hangingPunct="1"/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Montserrat" panose="00000500000000000000" pitchFamily="2" charset="0"/>
                <a:ea typeface="+mn-ea"/>
                <a:cs typeface="+mn-cs"/>
              </a:rPr>
              <a:t>Phase II</a:t>
            </a:r>
          </a:p>
          <a:p>
            <a:pPr rtl="0" eaLnBrk="1" fontAlgn="t" latinLnBrk="0" hangingPunct="1"/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Montserrat" panose="00000500000000000000" pitchFamily="2" charset="0"/>
                <a:ea typeface="+mn-ea"/>
                <a:cs typeface="+mn-cs"/>
              </a:rPr>
              <a:t>Automate Data Collection from CMS and OIG Websites</a:t>
            </a:r>
          </a:p>
          <a:p>
            <a:pPr rtl="0" eaLnBrk="1" fontAlgn="t" latinLnBrk="0" hangingPunct="1"/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Montserrat" panose="00000500000000000000" pitchFamily="2" charset="0"/>
                <a:ea typeface="+mn-ea"/>
                <a:cs typeface="+mn-cs"/>
              </a:rPr>
              <a:t>Phase III</a:t>
            </a:r>
          </a:p>
          <a:p>
            <a:pPr rtl="0" eaLnBrk="1" fontAlgn="t" latinLnBrk="0" hangingPunct="1"/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Montserrat" panose="00000500000000000000" pitchFamily="2" charset="0"/>
                <a:ea typeface="+mn-ea"/>
                <a:cs typeface="+mn-cs"/>
              </a:rPr>
              <a:t>Predict impact on Cotiviti Solutions by changes in legislation</a:t>
            </a:r>
          </a:p>
          <a:p>
            <a:pPr rtl="0" eaLnBrk="1" fontAlgn="t" latinLnBrk="0" hangingPunct="1"/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Montserrat" panose="00000500000000000000" pitchFamily="2" charset="0"/>
                <a:ea typeface="+mn-ea"/>
                <a:cs typeface="+mn-cs"/>
              </a:rPr>
              <a:t>Phase IV</a:t>
            </a:r>
          </a:p>
          <a:p>
            <a:pPr rtl="0" eaLnBrk="1" fontAlgn="t" latinLnBrk="0" hangingPunct="1"/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Montserrat" panose="00000500000000000000" pitchFamily="2" charset="0"/>
                <a:ea typeface="+mn-ea"/>
                <a:cs typeface="+mn-cs"/>
              </a:rPr>
              <a:t>Generate prescriptive insights to help understand the impact &amp; proposed mitigation strategy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8453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gress o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2115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991792-8F31-E57C-28AF-F9DC5BF0F4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E01E99F-0511-A9EE-1FBE-DDE8EA0EB6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AD1E18-B36A-F0E2-756B-CDD4418572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6FB8B1-C4EE-90BB-0DBE-0AA8E1AFB9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2110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>
                <a:latin typeface="Arial" panose="020B0604020202020204" pitchFamily="34" charset="0"/>
              </a:rPr>
              <a:t>Estimate how much savings are lost due to OOS claims. 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>
                <a:latin typeface="Arial" panose="020B0604020202020204" pitchFamily="34" charset="0"/>
              </a:rPr>
              <a:t>Measure volume and dollar distribution across time buckets, rules, plans, products, and providers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>
                <a:latin typeface="Arial" panose="020B0604020202020204" pitchFamily="34" charset="0"/>
              </a:rPr>
              <a:t>Recommend OSS claim hold windows (e.g., pend for 1–2 days)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latin typeface="Arial" panose="020B0604020202020204" pitchFamily="34" charset="0"/>
              </a:rPr>
              <a:t>Explore Predictive Modeling (future phase)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latin typeface="Arial" panose="020B0604020202020204" pitchFamily="34" charset="0"/>
              </a:rPr>
              <a:t>• Develop ML models to predict which claims are likely to be OOS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7683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1.emf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3BB01A6-7C5D-A41D-5F0D-0C95A69AC0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274"/>
            <a:ext cx="12192000" cy="6853451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D3526D-2D43-41BD-AE11-AFF0A422C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853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D3526D-2D43-41BD-AE11-AFF0A422C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D15303-77E3-4216-BE36-733574EB51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Cover Slide Title Block"/>
          <p:cNvSpPr>
            <a:spLocks noGrp="1"/>
          </p:cNvSpPr>
          <p:nvPr>
            <p:ph type="ctrTitle" hasCustomPrompt="1"/>
          </p:nvPr>
        </p:nvSpPr>
        <p:spPr>
          <a:xfrm>
            <a:off x="458725" y="568156"/>
            <a:ext cx="6355543" cy="1253627"/>
          </a:xfrm>
          <a:noFill/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3" name="Subtitle 2" descr="Cover Slide Subtitle Block"/>
          <p:cNvSpPr>
            <a:spLocks noGrp="1"/>
          </p:cNvSpPr>
          <p:nvPr>
            <p:ph type="subTitle" idx="1"/>
          </p:nvPr>
        </p:nvSpPr>
        <p:spPr>
          <a:xfrm>
            <a:off x="458725" y="2078542"/>
            <a:ext cx="6355543" cy="508228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9A25BA6-4A77-EFA3-4896-A4ECA95786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28238" y="672756"/>
            <a:ext cx="1620837" cy="487362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en-US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23085941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9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04425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9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46645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8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5040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0" y="0"/>
            <a:ext cx="12193467" cy="6857998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725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78E6D68-4D79-9F98-7509-20DA25AB725A}"/>
              </a:ext>
            </a:extLst>
          </p:cNvPr>
          <p:cNvSpPr/>
          <p:nvPr userDrawn="1"/>
        </p:nvSpPr>
        <p:spPr>
          <a:xfrm>
            <a:off x="0" y="0"/>
            <a:ext cx="12192000" cy="13715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pic>
        <p:nvPicPr>
          <p:cNvPr id="11" name="Picture 10" descr="A purple question mark in a circle&#10;&#10;Description automatically generated">
            <a:extLst>
              <a:ext uri="{FF2B5EF4-FFF2-40B4-BE49-F238E27FC236}">
                <a16:creationId xmlns:a16="http://schemas.microsoft.com/office/drawing/2014/main" id="{C5A8A0F2-6897-5156-AE8A-E3BD857A7D9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8405" y="175470"/>
            <a:ext cx="960176" cy="960176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0983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ontserrat" panose="00000500000000000000" pitchFamily="2" charset="0"/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 descr="Slide Content Box"/>
          <p:cNvSpPr>
            <a:spLocks noGrp="1"/>
          </p:cNvSpPr>
          <p:nvPr>
            <p:ph type="body" sz="quarter" idx="13"/>
          </p:nvPr>
        </p:nvSpPr>
        <p:spPr>
          <a:xfrm>
            <a:off x="457200" y="1844703"/>
            <a:ext cx="11277600" cy="4332262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+mj-lt"/>
              <a:buAutoNum type="alphaLcPeriod"/>
              <a:tabLst/>
              <a:defRPr>
                <a:latin typeface="+mn-lt"/>
              </a:defRPr>
            </a:lvl1pPr>
            <a:lvl2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+mj-lt"/>
              <a:buAutoNum type="alphaLcPeriod"/>
              <a:tabLst/>
              <a:defRPr>
                <a:latin typeface="+mn-lt"/>
              </a:defRPr>
            </a:lvl2pPr>
            <a:lvl3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+mj-lt"/>
              <a:buAutoNum type="alphaLcPeriod"/>
              <a:tabLst/>
              <a:defRPr>
                <a:latin typeface="+mn-lt"/>
              </a:defRPr>
            </a:lvl3pPr>
            <a:lvl4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+mj-lt"/>
              <a:buAutoNum type="alphaLcPeriod"/>
              <a:tabLst/>
              <a:defRPr>
                <a:latin typeface="+mn-lt"/>
              </a:defRPr>
            </a:lvl4pPr>
            <a:lvl5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+mj-lt"/>
              <a:buAutoNum type="alphaLcPeriod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3429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342900" marR="0" lvl="2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342900" marR="0" lvl="3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342900" marR="0" lvl="4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643394"/>
            <a:ext cx="9831788" cy="479829"/>
          </a:xfrm>
        </p:spPr>
        <p:txBody>
          <a:bodyPr anchor="t"/>
          <a:lstStyle/>
          <a:p>
            <a:r>
              <a:rPr lang="en-US" noProof="0"/>
              <a:t>Question goes here</a:t>
            </a:r>
          </a:p>
        </p:txBody>
      </p:sp>
      <p:sp>
        <p:nvSpPr>
          <p:cNvPr id="7" name="Subtitle 2" descr="Slide Subtitle">
            <a:extLst>
              <a:ext uri="{FF2B5EF4-FFF2-40B4-BE49-F238E27FC236}">
                <a16:creationId xmlns:a16="http://schemas.microsoft.com/office/drawing/2014/main" id="{586A90E9-43A9-0241-B222-93E3158351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8726" y="340921"/>
            <a:ext cx="9830458" cy="254861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Montserrat" panose="00000500000000000000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Poll #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5F6FAD-521F-8649-9770-0CC18551A48B}"/>
              </a:ext>
            </a:extLst>
          </p:cNvPr>
          <p:cNvSpPr txBox="1"/>
          <p:nvPr userDrawn="1"/>
        </p:nvSpPr>
        <p:spPr>
          <a:xfrm>
            <a:off x="-648182" y="3750197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>
              <a:latin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55835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14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ontserrat" panose="00000500000000000000" pitchFamily="2" charset="0"/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 descr="Slide Content Box"/>
          <p:cNvSpPr>
            <a:spLocks noGrp="1"/>
          </p:cNvSpPr>
          <p:nvPr>
            <p:ph type="body" sz="quarter" idx="13"/>
          </p:nvPr>
        </p:nvSpPr>
        <p:spPr>
          <a:xfrm>
            <a:off x="457200" y="1282699"/>
            <a:ext cx="11277600" cy="489426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765177"/>
          </a:xfrm>
        </p:spPr>
        <p:txBody>
          <a:bodyPr anchor="t"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14975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b_Title w/Sub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0983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ontserrat" panose="00000500000000000000" pitchFamily="2" charset="0"/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 descr="Slide Content Box"/>
          <p:cNvSpPr>
            <a:spLocks noGrp="1"/>
          </p:cNvSpPr>
          <p:nvPr>
            <p:ph type="body" sz="quarter" idx="13"/>
          </p:nvPr>
        </p:nvSpPr>
        <p:spPr>
          <a:xfrm>
            <a:off x="457200" y="1282149"/>
            <a:ext cx="11277600" cy="4894816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340115"/>
          </a:xfrm>
        </p:spPr>
        <p:txBody>
          <a:bodyPr anchor="t"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ubtitle 2" descr="Slide Subtitle">
            <a:extLst>
              <a:ext uri="{FF2B5EF4-FFF2-40B4-BE49-F238E27FC236}">
                <a16:creationId xmlns:a16="http://schemas.microsoft.com/office/drawing/2014/main" id="{586A90E9-43A9-0241-B222-93E3158351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5" y="756076"/>
            <a:ext cx="11273027" cy="340115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Montserrat" panose="00000500000000000000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5F6FAD-521F-8649-9770-0CC18551A48B}"/>
              </a:ext>
            </a:extLst>
          </p:cNvPr>
          <p:cNvSpPr txBox="1"/>
          <p:nvPr userDrawn="1"/>
        </p:nvSpPr>
        <p:spPr>
          <a:xfrm>
            <a:off x="-648182" y="3750197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>
              <a:latin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32690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FC6BDF-F541-4BDE-A284-229958FCDC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161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FC6BDF-F541-4BDE-A284-229958FCD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5B871D-E513-4E1E-9214-58513D4259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ontserrat" panose="00000500000000000000" pitchFamily="2" charset="0"/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1" y="1284789"/>
            <a:ext cx="5540828" cy="489217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Content Placeholder 8" descr="Slide Content Box 2">
            <a:extLst>
              <a:ext uri="{FF2B5EF4-FFF2-40B4-BE49-F238E27FC236}">
                <a16:creationId xmlns:a16="http://schemas.microsoft.com/office/drawing/2014/main" id="{C7EF0788-9E9D-4BA3-A132-B323D31F49B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4426" y="1284790"/>
            <a:ext cx="5540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0293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99930E-69B7-4A72-98BD-FBA90240F6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039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99930E-69B7-4A72-98BD-FBA90240F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FE23A40-4642-46FC-80E3-90E9C2B1C5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ontserrat" panose="00000500000000000000" pitchFamily="2" charset="0"/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1" y="1284251"/>
            <a:ext cx="3635828" cy="489271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2">
            <a:extLst>
              <a:ext uri="{FF2B5EF4-FFF2-40B4-BE49-F238E27FC236}">
                <a16:creationId xmlns:a16="http://schemas.microsoft.com/office/drawing/2014/main" id="{A8C7E46B-CD8E-4D36-BE34-7C73F0219F3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78312" y="1284790"/>
            <a:ext cx="3635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1" descr="Slide Content Box 3">
            <a:extLst>
              <a:ext uri="{FF2B5EF4-FFF2-40B4-BE49-F238E27FC236}">
                <a16:creationId xmlns:a16="http://schemas.microsoft.com/office/drawing/2014/main" id="{EF5E564C-1C39-4E0A-8A8C-A855C1988BD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099425" y="1284790"/>
            <a:ext cx="3635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0958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559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ontserrat" panose="00000500000000000000" pitchFamily="2" charset="0"/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235308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2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3" name="Content Placeholder 12" descr="Slide Content Box 3">
            <a:extLst>
              <a:ext uri="{FF2B5EF4-FFF2-40B4-BE49-F238E27FC236}">
                <a16:creationId xmlns:a16="http://schemas.microsoft.com/office/drawing/2014/main" id="{509CF4F7-9D97-406F-82B7-FF24AA990C4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7200" y="3823507"/>
            <a:ext cx="5537200" cy="2352769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4">
            <a:extLst>
              <a:ext uri="{FF2B5EF4-FFF2-40B4-BE49-F238E27FC236}">
                <a16:creationId xmlns:a16="http://schemas.microsoft.com/office/drawing/2014/main" id="{9BE0B341-71E8-47CC-A829-8E7D98106D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0" y="3822759"/>
            <a:ext cx="5537200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22354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Phot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8D0F3227-1B90-EB7B-C22A-CC853B1D1F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10" y="1861"/>
            <a:ext cx="12185382" cy="6853451"/>
          </a:xfrm>
          <a:prstGeom prst="rect">
            <a:avLst/>
          </a:prstGeom>
        </p:spPr>
      </p:pic>
      <p:sp>
        <p:nvSpPr>
          <p:cNvPr id="7" name="Title 1" descr="Cover Slide Title Block">
            <a:extLst>
              <a:ext uri="{FF2B5EF4-FFF2-40B4-BE49-F238E27FC236}">
                <a16:creationId xmlns:a16="http://schemas.microsoft.com/office/drawing/2014/main" id="{143ABBE6-1ECC-E0B5-3449-9E6EDEDAAB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5" y="568156"/>
            <a:ext cx="6355543" cy="1253627"/>
          </a:xfrm>
          <a:noFill/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8" name="Subtitle 2" descr="Cover Slide Subtitle Block">
            <a:extLst>
              <a:ext uri="{FF2B5EF4-FFF2-40B4-BE49-F238E27FC236}">
                <a16:creationId xmlns:a16="http://schemas.microsoft.com/office/drawing/2014/main" id="{C3C57352-BAE4-80E3-F850-607C5E6E4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5" y="2078542"/>
            <a:ext cx="6355543" cy="508228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076D4415-7280-B200-5BDD-714C96DB26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8725" y="5818384"/>
            <a:ext cx="1620837" cy="487362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1"/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en-US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17986736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imary Content with 2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68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ontserrat" panose="00000500000000000000" pitchFamily="2" charset="0"/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RIght 1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Right 2">
            <a:extLst>
              <a:ext uri="{FF2B5EF4-FFF2-40B4-BE49-F238E27FC236}">
                <a16:creationId xmlns:a16="http://schemas.microsoft.com/office/drawing/2014/main" id="{9BE0B341-71E8-47CC-A829-8E7D98106D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0" y="3822759"/>
            <a:ext cx="5537200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90121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imary Content with 3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981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ontserrat" panose="00000500000000000000" pitchFamily="2" charset="0"/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RIght 1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Content Placeholder 5" descr="Slide Content Box RIght 2">
            <a:extLst>
              <a:ext uri="{FF2B5EF4-FFF2-40B4-BE49-F238E27FC236}">
                <a16:creationId xmlns:a16="http://schemas.microsoft.com/office/drawing/2014/main" id="{97C43893-4A0E-5149-982B-207C9173079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97602" y="2970794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0" name="Content Placeholder 5" descr="Slide Content Box RIght 3">
            <a:extLst>
              <a:ext uri="{FF2B5EF4-FFF2-40B4-BE49-F238E27FC236}">
                <a16:creationId xmlns:a16="http://schemas.microsoft.com/office/drawing/2014/main" id="{F6047B48-9C37-7B43-B81B-D0D2810BB87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2" y="4656798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38067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imary Content with 4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138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ontserrat" panose="00000500000000000000" pitchFamily="2" charset="0"/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4018986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1" name="Content Placeholder 5" descr="Slide Content Box RIght 1">
            <a:extLst>
              <a:ext uri="{FF2B5EF4-FFF2-40B4-BE49-F238E27FC236}">
                <a16:creationId xmlns:a16="http://schemas.microsoft.com/office/drawing/2014/main" id="{99F7D177-AEC0-A94D-9080-BFF80DD04C5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57036" y="1284790"/>
            <a:ext cx="3446935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RIght 3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57034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3" name="Content Placeholder 5" descr="Slide Content Box RIght 2">
            <a:extLst>
              <a:ext uri="{FF2B5EF4-FFF2-40B4-BE49-F238E27FC236}">
                <a16:creationId xmlns:a16="http://schemas.microsoft.com/office/drawing/2014/main" id="{3EEE4A13-329A-C64B-A43E-3F785D89F37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284819" y="1284790"/>
            <a:ext cx="3446935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RIght 4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628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rimary with Callouts Low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968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ontserrat" panose="00000500000000000000" pitchFamily="2" charset="0"/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 descr="Slide Content Box Center Across the Top"/>
          <p:cNvSpPr>
            <a:spLocks noGrp="1"/>
          </p:cNvSpPr>
          <p:nvPr>
            <p:ph type="body" sz="quarter" idx="13"/>
          </p:nvPr>
        </p:nvSpPr>
        <p:spPr>
          <a:xfrm>
            <a:off x="457199" y="1284777"/>
            <a:ext cx="11274551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Lower Middle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73769" y="3816626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Lower RIght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3816626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Lower Left ">
            <a:extLst>
              <a:ext uri="{FF2B5EF4-FFF2-40B4-BE49-F238E27FC236}">
                <a16:creationId xmlns:a16="http://schemas.microsoft.com/office/drawing/2014/main" id="{CC08F38A-6162-5E40-A5BD-6C486A6B60E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2721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88523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rimary with Callouts Upp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6100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ontserrat" panose="00000500000000000000" pitchFamily="2" charset="0"/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 descr="Slide Content Box Lower "/>
          <p:cNvSpPr>
            <a:spLocks noGrp="1"/>
          </p:cNvSpPr>
          <p:nvPr>
            <p:ph type="body" sz="quarter" idx="13"/>
          </p:nvPr>
        </p:nvSpPr>
        <p:spPr>
          <a:xfrm>
            <a:off x="457199" y="3834420"/>
            <a:ext cx="11274551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Upper Middle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73769" y="1278644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Upper RIght 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1278644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Upper Left">
            <a:extLst>
              <a:ext uri="{FF2B5EF4-FFF2-40B4-BE49-F238E27FC236}">
                <a16:creationId xmlns:a16="http://schemas.microsoft.com/office/drawing/2014/main" id="{CC08F38A-6162-5E40-A5BD-6C486A6B60E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2721" y="1284777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>
                <a:latin typeface="Montserrat Medium" panose="00000600000000000000" pitchFamily="2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99907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7C99ECC-8008-4DDC-B9AD-9F32F5DD1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6780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7C99ECC-8008-4DDC-B9AD-9F32F5DD1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0A71401-5A22-4971-8A91-0DF6AFAF68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. The rest of the slide is blank.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ontserrat" panose="00000500000000000000" pitchFamily="2" charset="0"/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4596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ontserrat" panose="00000500000000000000" pitchFamily="2" charset="0"/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8671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_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ontserrat" panose="00000500000000000000" pitchFamily="2" charset="0"/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 descr="Slide Content"/>
          <p:cNvSpPr>
            <a:spLocks noGrp="1"/>
          </p:cNvSpPr>
          <p:nvPr>
            <p:ph type="body" sz="quarter" idx="13"/>
          </p:nvPr>
        </p:nvSpPr>
        <p:spPr>
          <a:xfrm>
            <a:off x="457200" y="1282149"/>
            <a:ext cx="11277600" cy="4894816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  <a:latin typeface="Montserrat" panose="00000500000000000000" pitchFamily="2" charset="0"/>
              </a:defRPr>
            </a:lvl2pPr>
            <a:lvl3pPr>
              <a:defRPr>
                <a:solidFill>
                  <a:schemeClr val="bg1"/>
                </a:solidFill>
                <a:latin typeface="Montserrat" panose="00000500000000000000" pitchFamily="2" charset="0"/>
              </a:defRPr>
            </a:lvl3pPr>
            <a:lvl4pPr>
              <a:defRPr>
                <a:solidFill>
                  <a:schemeClr val="bg1"/>
                </a:solidFill>
                <a:latin typeface="Montserrat" panose="00000500000000000000" pitchFamily="2" charset="0"/>
              </a:defRPr>
            </a:lvl4pPr>
            <a:lvl5pPr>
              <a:defRPr sz="1100">
                <a:solidFill>
                  <a:schemeClr val="bg1"/>
                </a:solidFill>
                <a:latin typeface="Montserrat" panose="000005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Fifth level</a:t>
            </a: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77724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74763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FC6BDF-F541-4BDE-A284-229958FCDC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587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FC6BDF-F541-4BDE-A284-229958FCD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5B871D-E513-4E1E-9214-58513D42594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ontserrat" panose="00000500000000000000" pitchFamily="2" charset="0"/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3149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(s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white lines on a purple background&#10;&#10;Description automatically generated">
            <a:extLst>
              <a:ext uri="{FF2B5EF4-FFF2-40B4-BE49-F238E27FC236}">
                <a16:creationId xmlns:a16="http://schemas.microsoft.com/office/drawing/2014/main" id="{9C390B7A-2028-C706-F34F-02335345BD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17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</p:pic>
      <p:sp>
        <p:nvSpPr>
          <p:cNvPr id="6" name="Title 1" descr="Quote Area Here">
            <a:extLst>
              <a:ext uri="{FF2B5EF4-FFF2-40B4-BE49-F238E27FC236}">
                <a16:creationId xmlns:a16="http://schemas.microsoft.com/office/drawing/2014/main" id="{3C06EAAB-280D-CE63-BCFF-854D579602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6276" y="1643932"/>
            <a:ext cx="9299448" cy="3819890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“Quote Slide”</a:t>
            </a:r>
            <a:endParaRPr lang="en-US"/>
          </a:p>
        </p:txBody>
      </p:sp>
      <p:sp>
        <p:nvSpPr>
          <p:cNvPr id="10" name="Text Placeholder 2" descr="Quote Attribution Area">
            <a:extLst>
              <a:ext uri="{FF2B5EF4-FFF2-40B4-BE49-F238E27FC236}">
                <a16:creationId xmlns:a16="http://schemas.microsoft.com/office/drawing/2014/main" id="{158E7F2F-9E6B-FAA7-0892-FBCA6EAFD2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46276" y="5689158"/>
            <a:ext cx="9299448" cy="401247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ttribution</a:t>
            </a:r>
          </a:p>
        </p:txBody>
      </p:sp>
    </p:spTree>
    <p:extLst>
      <p:ext uri="{BB962C8B-B14F-4D97-AF65-F5344CB8AC3E}">
        <p14:creationId xmlns:p14="http://schemas.microsoft.com/office/powerpoint/2010/main" val="15075201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Phot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9FC0A75-9612-45DB-896D-BED63A9DAC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10" y="1861"/>
            <a:ext cx="12185382" cy="6853450"/>
          </a:xfrm>
          <a:prstGeom prst="rect">
            <a:avLst/>
          </a:prstGeom>
        </p:spPr>
      </p:pic>
      <p:sp>
        <p:nvSpPr>
          <p:cNvPr id="6" name="Title 1" descr="Cover Slide Title Block">
            <a:extLst>
              <a:ext uri="{FF2B5EF4-FFF2-40B4-BE49-F238E27FC236}">
                <a16:creationId xmlns:a16="http://schemas.microsoft.com/office/drawing/2014/main" id="{C34AC2C2-3A0F-3511-1675-66F2C94741F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5" y="568156"/>
            <a:ext cx="6355543" cy="1253627"/>
          </a:xfrm>
          <a:noFill/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7" name="Subtitle 2" descr="Cover Slide Subtitle Block">
            <a:extLst>
              <a:ext uri="{FF2B5EF4-FFF2-40B4-BE49-F238E27FC236}">
                <a16:creationId xmlns:a16="http://schemas.microsoft.com/office/drawing/2014/main" id="{0CD4C56A-7FA1-2F46-CE85-7D5B157867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5" y="2078542"/>
            <a:ext cx="6355543" cy="508228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FA4E227D-96AE-BA31-6418-EC933EE1FF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8725" y="5818384"/>
            <a:ext cx="1620837" cy="487362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1"/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en-US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26860419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(s)-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0A9EC8F-1598-E3DF-75CF-46108124E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1997" cy="6857171"/>
          </a:xfrm>
          <a:prstGeom prst="rect">
            <a:avLst/>
          </a:prstGeom>
        </p:spPr>
      </p:pic>
      <p:sp>
        <p:nvSpPr>
          <p:cNvPr id="8" name="Title 1" descr="Quote Area Here">
            <a:extLst>
              <a:ext uri="{FF2B5EF4-FFF2-40B4-BE49-F238E27FC236}">
                <a16:creationId xmlns:a16="http://schemas.microsoft.com/office/drawing/2014/main" id="{C5AD0C9C-3B56-F747-99CD-3AE065574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6276" y="1643932"/>
            <a:ext cx="9299448" cy="3819890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“Quote Slide”</a:t>
            </a:r>
            <a:endParaRPr lang="en-US"/>
          </a:p>
        </p:txBody>
      </p:sp>
      <p:sp>
        <p:nvSpPr>
          <p:cNvPr id="9" name="Text Placeholder 2" descr="Quote Attribution Area">
            <a:extLst>
              <a:ext uri="{FF2B5EF4-FFF2-40B4-BE49-F238E27FC236}">
                <a16:creationId xmlns:a16="http://schemas.microsoft.com/office/drawing/2014/main" id="{87775FA6-7D88-D54D-B3A1-64562B561A4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46276" y="5689158"/>
            <a:ext cx="9299448" cy="401247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ttribution</a:t>
            </a:r>
          </a:p>
        </p:txBody>
      </p:sp>
    </p:spTree>
    <p:extLst>
      <p:ext uri="{BB962C8B-B14F-4D97-AF65-F5344CB8AC3E}">
        <p14:creationId xmlns:p14="http://schemas.microsoft.com/office/powerpoint/2010/main" val="26767696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Closing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75F2FDA-77E8-4521-CEB7-4DA893504E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14"/>
            <a:ext cx="12192000" cy="6857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305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3EC3B2-3C94-AB43-BABA-3E7F81EC80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Montserrat" panose="00000500000000000000" pitchFamily="2" charset="0"/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98DF834-1537-1F54-A28F-EA9545DFFB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572982" y="5341920"/>
            <a:ext cx="485709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95A90C7-2102-D000-11EA-2F7B7F49B1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88656" y="5341920"/>
            <a:ext cx="154423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F5C4307-9759-EC59-FE07-27DF461E42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572981" y="1399680"/>
            <a:ext cx="6559905" cy="74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082E43E-A4C7-9D74-A7EC-D23FD81BF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77939" y="5341920"/>
            <a:ext cx="154423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4C6B7B9-21BB-6DA8-FD82-F5163FD66CE0}"/>
              </a:ext>
            </a:extLst>
          </p:cNvPr>
          <p:cNvSpPr/>
          <p:nvPr userDrawn="1"/>
        </p:nvSpPr>
        <p:spPr>
          <a:xfrm>
            <a:off x="1572981" y="872702"/>
            <a:ext cx="6559905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  <a:latin typeface="Montserrat" panose="00000500000000000000" pitchFamily="2" charset="0"/>
              </a:rPr>
              <a:t>Primary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EEB9DC7-FF39-340B-7BE3-D015BA736010}"/>
              </a:ext>
            </a:extLst>
          </p:cNvPr>
          <p:cNvSpPr/>
          <p:nvPr userDrawn="1"/>
        </p:nvSpPr>
        <p:spPr>
          <a:xfrm>
            <a:off x="1572981" y="5378162"/>
            <a:ext cx="4857094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  <a:latin typeface="Montserrat" panose="00000500000000000000" pitchFamily="2" charset="0"/>
              </a:rPr>
              <a:t>Secondary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51EC044-2FAE-AA81-536B-E520ACF3E290}"/>
              </a:ext>
            </a:extLst>
          </p:cNvPr>
          <p:cNvSpPr/>
          <p:nvPr userDrawn="1"/>
        </p:nvSpPr>
        <p:spPr>
          <a:xfrm>
            <a:off x="6561932" y="5378162"/>
            <a:ext cx="1544231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  <a:latin typeface="Montserrat" panose="00000500000000000000" pitchFamily="2" charset="0"/>
              </a:rPr>
              <a:t>Highligh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076F120-C1C6-47EB-DE47-2D356BD7E424}"/>
              </a:ext>
            </a:extLst>
          </p:cNvPr>
          <p:cNvSpPr/>
          <p:nvPr userDrawn="1"/>
        </p:nvSpPr>
        <p:spPr>
          <a:xfrm>
            <a:off x="8585338" y="5378162"/>
            <a:ext cx="1544231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  <a:latin typeface="Montserrat" panose="00000500000000000000" pitchFamily="2" charset="0"/>
              </a:rPr>
              <a:t>Negativ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7A61929-908B-BA67-0C23-EFF64AD617AE}"/>
              </a:ext>
            </a:extLst>
          </p:cNvPr>
          <p:cNvSpPr/>
          <p:nvPr userDrawn="1"/>
        </p:nvSpPr>
        <p:spPr>
          <a:xfrm>
            <a:off x="8578725" y="872702"/>
            <a:ext cx="1543445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  <a:latin typeface="Montserrat" panose="00000500000000000000" pitchFamily="2" charset="0"/>
              </a:rPr>
              <a:t>Positive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59C3638D-8AC0-6487-6939-0B7BBA1510F7}"/>
              </a:ext>
            </a:extLst>
          </p:cNvPr>
          <p:cNvGrpSpPr/>
          <p:nvPr userDrawn="1"/>
        </p:nvGrpSpPr>
        <p:grpSpPr>
          <a:xfrm>
            <a:off x="1572981" y="1735627"/>
            <a:ext cx="1575487" cy="1506738"/>
            <a:chOff x="1572981" y="1562638"/>
            <a:chExt cx="1575487" cy="1506738"/>
          </a:xfrm>
        </p:grpSpPr>
        <p:grpSp>
          <p:nvGrpSpPr>
            <p:cNvPr id="4" name="Group 3" descr="Purple">
              <a:extLst>
                <a:ext uri="{FF2B5EF4-FFF2-40B4-BE49-F238E27FC236}">
                  <a16:creationId xmlns:a16="http://schemas.microsoft.com/office/drawing/2014/main" id="{3BCA94B1-3D12-1DD9-14BA-B00808B92B16}"/>
                </a:ext>
              </a:extLst>
            </p:cNvPr>
            <p:cNvGrpSpPr/>
            <p:nvPr userDrawn="1"/>
          </p:nvGrpSpPr>
          <p:grpSpPr>
            <a:xfrm>
              <a:off x="1572981" y="1562638"/>
              <a:ext cx="1575487" cy="1506738"/>
              <a:chOff x="244513" y="1467748"/>
              <a:chExt cx="1575487" cy="1506738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D5A48E67-3E59-5B2C-197E-0AA01EDE8140}"/>
                  </a:ext>
                </a:extLst>
              </p:cNvPr>
              <p:cNvSpPr/>
              <p:nvPr userDrawn="1"/>
            </p:nvSpPr>
            <p:spPr>
              <a:xfrm>
                <a:off x="244513" y="14677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EA07F901-839A-6113-DA01-B87D18107372}"/>
                  </a:ext>
                </a:extLst>
              </p:cNvPr>
              <p:cNvSpPr/>
              <p:nvPr userDrawn="1"/>
            </p:nvSpPr>
            <p:spPr>
              <a:xfrm>
                <a:off x="244513" y="1467748"/>
                <a:ext cx="271337" cy="15067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3B3FD7E6-5C5F-07B0-CD4D-10368B46ADD6}"/>
                  </a:ext>
                </a:extLst>
              </p:cNvPr>
              <p:cNvSpPr/>
              <p:nvPr userDrawn="1"/>
            </p:nvSpPr>
            <p:spPr>
              <a:xfrm>
                <a:off x="547107" y="17022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1"/>
                    </a:solidFill>
                    <a:latin typeface="Montserrat" panose="00000500000000000000" pitchFamily="2" charset="0"/>
                  </a:rPr>
                  <a:t>R:  </a:t>
                </a:r>
                <a:r>
                  <a:rPr lang="en-US" sz="2000">
                    <a:solidFill>
                      <a:schemeClr val="accent1"/>
                    </a:solidFill>
                    <a:latin typeface="Montserrat" panose="00000500000000000000" pitchFamily="2" charset="0"/>
                  </a:rPr>
                  <a:t>48</a:t>
                </a:r>
                <a:endParaRPr lang="en-US" sz="2000" b="1">
                  <a:solidFill>
                    <a:schemeClr val="accent1"/>
                  </a:solidFill>
                  <a:latin typeface="Montserrat" panose="00000500000000000000" pitchFamily="2" charset="0"/>
                </a:endParaRPr>
              </a:p>
              <a:p>
                <a:r>
                  <a:rPr lang="en-US" sz="2000" b="1">
                    <a:solidFill>
                      <a:schemeClr val="accent1"/>
                    </a:solidFill>
                    <a:latin typeface="Montserrat" panose="00000500000000000000" pitchFamily="2" charset="0"/>
                  </a:rPr>
                  <a:t>G: </a:t>
                </a:r>
                <a:r>
                  <a:rPr lang="en-US" sz="2000">
                    <a:solidFill>
                      <a:schemeClr val="accent1"/>
                    </a:solidFill>
                    <a:latin typeface="Montserrat" panose="00000500000000000000" pitchFamily="2" charset="0"/>
                  </a:rPr>
                  <a:t> 0</a:t>
                </a:r>
              </a:p>
              <a:p>
                <a:r>
                  <a:rPr lang="en-US" sz="2000" b="1">
                    <a:solidFill>
                      <a:schemeClr val="accent1"/>
                    </a:solidFill>
                    <a:latin typeface="Montserrat" panose="00000500000000000000" pitchFamily="2" charset="0"/>
                  </a:rPr>
                  <a:t>B:  </a:t>
                </a:r>
                <a:r>
                  <a:rPr lang="en-US" sz="2000">
                    <a:solidFill>
                      <a:schemeClr val="accent1"/>
                    </a:solidFill>
                    <a:latin typeface="Montserrat" panose="00000500000000000000" pitchFamily="2" charset="0"/>
                  </a:rPr>
                  <a:t>111</a:t>
                </a:r>
                <a:endParaRPr lang="en-GB" sz="2000">
                  <a:solidFill>
                    <a:schemeClr val="accent1"/>
                  </a:solidFill>
                  <a:latin typeface="Montserrat" panose="00000500000000000000" pitchFamily="2" charset="0"/>
                </a:endParaRPr>
              </a:p>
            </p:txBody>
          </p:sp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93A8B846-CA14-108A-8158-9FC9DBD5183C}"/>
                </a:ext>
              </a:extLst>
            </p:cNvPr>
            <p:cNvSpPr txBox="1"/>
            <p:nvPr userDrawn="1"/>
          </p:nvSpPr>
          <p:spPr>
            <a:xfrm>
              <a:off x="1936466" y="2790776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1"/>
                  </a:solidFill>
                  <a:latin typeface="Montserrat" panose="00000500000000000000" pitchFamily="2" charset="0"/>
                </a:rPr>
                <a:t>HEX# 30006F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8FEB95EE-0E83-5226-0EF8-700732641304}"/>
              </a:ext>
            </a:extLst>
          </p:cNvPr>
          <p:cNvGrpSpPr/>
          <p:nvPr userDrawn="1"/>
        </p:nvGrpSpPr>
        <p:grpSpPr>
          <a:xfrm>
            <a:off x="3243038" y="1735627"/>
            <a:ext cx="1575487" cy="1506738"/>
            <a:chOff x="3222996" y="1574087"/>
            <a:chExt cx="1575487" cy="1506738"/>
          </a:xfrm>
        </p:grpSpPr>
        <p:grpSp>
          <p:nvGrpSpPr>
            <p:cNvPr id="8" name="Group 7" descr="Lavendar">
              <a:extLst>
                <a:ext uri="{FF2B5EF4-FFF2-40B4-BE49-F238E27FC236}">
                  <a16:creationId xmlns:a16="http://schemas.microsoft.com/office/drawing/2014/main" id="{62AF1EA0-97E9-9439-53BE-CC4A1C2828E5}"/>
                </a:ext>
              </a:extLst>
            </p:cNvPr>
            <p:cNvGrpSpPr/>
            <p:nvPr userDrawn="1"/>
          </p:nvGrpSpPr>
          <p:grpSpPr>
            <a:xfrm>
              <a:off x="3222996" y="1574087"/>
              <a:ext cx="1575487" cy="1506738"/>
              <a:chOff x="2187613" y="1467748"/>
              <a:chExt cx="1575487" cy="1506738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A740847-EED2-4A73-68CF-05539592ED8A}"/>
                  </a:ext>
                </a:extLst>
              </p:cNvPr>
              <p:cNvSpPr/>
              <p:nvPr userDrawn="1"/>
            </p:nvSpPr>
            <p:spPr>
              <a:xfrm>
                <a:off x="2187613" y="14677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0C636634-1CD9-F563-3829-7519B5EE469A}"/>
                  </a:ext>
                </a:extLst>
              </p:cNvPr>
              <p:cNvSpPr/>
              <p:nvPr userDrawn="1"/>
            </p:nvSpPr>
            <p:spPr>
              <a:xfrm>
                <a:off x="2187613" y="1467748"/>
                <a:ext cx="271337" cy="1506738"/>
              </a:xfrm>
              <a:prstGeom prst="rect">
                <a:avLst/>
              </a:prstGeom>
              <a:solidFill>
                <a:srgbClr val="9579D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CA1256A6-371E-E741-44E5-20EE37C29529}"/>
                  </a:ext>
                </a:extLst>
              </p:cNvPr>
              <p:cNvSpPr/>
              <p:nvPr userDrawn="1"/>
            </p:nvSpPr>
            <p:spPr>
              <a:xfrm>
                <a:off x="2490207" y="17022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2"/>
                    </a:solidFill>
                    <a:latin typeface="Montserrat" panose="00000500000000000000" pitchFamily="2" charset="0"/>
                  </a:rPr>
                  <a:t>R: </a:t>
                </a:r>
                <a:r>
                  <a:rPr lang="en-US" sz="2000">
                    <a:solidFill>
                      <a:schemeClr val="accent2"/>
                    </a:solidFill>
                    <a:latin typeface="Montserrat" panose="00000500000000000000" pitchFamily="2" charset="0"/>
                  </a:rPr>
                  <a:t>149</a:t>
                </a:r>
                <a:endParaRPr lang="en-US" sz="2000" b="1">
                  <a:solidFill>
                    <a:schemeClr val="accent2"/>
                  </a:solidFill>
                  <a:latin typeface="Montserrat" panose="00000500000000000000" pitchFamily="2" charset="0"/>
                </a:endParaRPr>
              </a:p>
              <a:p>
                <a:r>
                  <a:rPr lang="en-US" sz="2000" b="1">
                    <a:solidFill>
                      <a:schemeClr val="accent2"/>
                    </a:solidFill>
                    <a:latin typeface="Montserrat" panose="00000500000000000000" pitchFamily="2" charset="0"/>
                  </a:rPr>
                  <a:t>G: </a:t>
                </a:r>
                <a:r>
                  <a:rPr lang="en-US" sz="2000">
                    <a:solidFill>
                      <a:schemeClr val="accent2"/>
                    </a:solidFill>
                    <a:latin typeface="Montserrat" panose="00000500000000000000" pitchFamily="2" charset="0"/>
                  </a:rPr>
                  <a:t>121</a:t>
                </a:r>
              </a:p>
              <a:p>
                <a:r>
                  <a:rPr lang="en-US" sz="2000" b="1">
                    <a:solidFill>
                      <a:schemeClr val="accent2"/>
                    </a:solidFill>
                    <a:latin typeface="Montserrat" panose="00000500000000000000" pitchFamily="2" charset="0"/>
                  </a:rPr>
                  <a:t>B: </a:t>
                </a:r>
                <a:r>
                  <a:rPr lang="en-US" sz="2000">
                    <a:solidFill>
                      <a:schemeClr val="accent2"/>
                    </a:solidFill>
                    <a:latin typeface="Montserrat" panose="00000500000000000000" pitchFamily="2" charset="0"/>
                  </a:rPr>
                  <a:t>211</a:t>
                </a:r>
                <a:endParaRPr lang="en-GB" sz="2000">
                  <a:solidFill>
                    <a:schemeClr val="accent2"/>
                  </a:solidFill>
                  <a:latin typeface="Montserrat" panose="00000500000000000000" pitchFamily="2" charset="0"/>
                </a:endParaRPr>
              </a:p>
            </p:txBody>
          </p:sp>
        </p:grp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CA62D956-DD12-8B7A-118E-D19468728E91}"/>
                </a:ext>
              </a:extLst>
            </p:cNvPr>
            <p:cNvSpPr txBox="1"/>
            <p:nvPr userDrawn="1"/>
          </p:nvSpPr>
          <p:spPr>
            <a:xfrm>
              <a:off x="3595145" y="2790776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2"/>
                  </a:solidFill>
                  <a:latin typeface="Montserrat" panose="00000500000000000000" pitchFamily="2" charset="0"/>
                </a:rPr>
                <a:t>HEX# 9579D3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DD54BF3-0BA7-E159-CB9E-D7E1C38B44AD}"/>
              </a:ext>
            </a:extLst>
          </p:cNvPr>
          <p:cNvGrpSpPr/>
          <p:nvPr userDrawn="1"/>
        </p:nvGrpSpPr>
        <p:grpSpPr>
          <a:xfrm>
            <a:off x="4913095" y="1735627"/>
            <a:ext cx="1580992" cy="1506738"/>
            <a:chOff x="4885845" y="1562638"/>
            <a:chExt cx="1580992" cy="1506738"/>
          </a:xfrm>
        </p:grpSpPr>
        <p:grpSp>
          <p:nvGrpSpPr>
            <p:cNvPr id="12" name="Group 11" descr="Magenta">
              <a:extLst>
                <a:ext uri="{FF2B5EF4-FFF2-40B4-BE49-F238E27FC236}">
                  <a16:creationId xmlns:a16="http://schemas.microsoft.com/office/drawing/2014/main" id="{B932120A-BD9E-DD90-4723-2B423EB7FF8B}"/>
                </a:ext>
              </a:extLst>
            </p:cNvPr>
            <p:cNvGrpSpPr/>
            <p:nvPr userDrawn="1"/>
          </p:nvGrpSpPr>
          <p:grpSpPr>
            <a:xfrm>
              <a:off x="4885845" y="1562638"/>
              <a:ext cx="1580992" cy="1506738"/>
              <a:chOff x="4130713" y="1467748"/>
              <a:chExt cx="1580992" cy="1506738"/>
            </a:xfrm>
          </p:grpSpPr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A6263FBD-0802-7C16-0E0F-1DFFED34525F}"/>
                  </a:ext>
                </a:extLst>
              </p:cNvPr>
              <p:cNvSpPr/>
              <p:nvPr userDrawn="1"/>
            </p:nvSpPr>
            <p:spPr>
              <a:xfrm>
                <a:off x="4130713" y="14677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E4A46543-9745-ACEA-609D-5A3A5B1E5079}"/>
                  </a:ext>
                </a:extLst>
              </p:cNvPr>
              <p:cNvSpPr/>
              <p:nvPr userDrawn="1"/>
            </p:nvSpPr>
            <p:spPr>
              <a:xfrm>
                <a:off x="4130713" y="1467748"/>
                <a:ext cx="271337" cy="150673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7F3B89E0-495C-87F2-D39A-B040BBB77B7F}"/>
                  </a:ext>
                </a:extLst>
              </p:cNvPr>
              <p:cNvSpPr/>
              <p:nvPr userDrawn="1"/>
            </p:nvSpPr>
            <p:spPr>
              <a:xfrm>
                <a:off x="4438812" y="17022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3"/>
                    </a:solidFill>
                    <a:latin typeface="Montserrat" panose="00000500000000000000" pitchFamily="2" charset="0"/>
                  </a:rPr>
                  <a:t>R: </a:t>
                </a:r>
                <a:r>
                  <a:rPr lang="en-US" sz="2000">
                    <a:solidFill>
                      <a:schemeClr val="accent3"/>
                    </a:solidFill>
                    <a:latin typeface="Montserrat" panose="00000500000000000000" pitchFamily="2" charset="0"/>
                  </a:rPr>
                  <a:t>236</a:t>
                </a:r>
                <a:endParaRPr lang="en-US" sz="2000" b="1">
                  <a:solidFill>
                    <a:schemeClr val="accent3"/>
                  </a:solidFill>
                  <a:latin typeface="Montserrat" panose="00000500000000000000" pitchFamily="2" charset="0"/>
                </a:endParaRPr>
              </a:p>
              <a:p>
                <a:r>
                  <a:rPr lang="en-US" sz="2000" b="1">
                    <a:solidFill>
                      <a:schemeClr val="accent3"/>
                    </a:solidFill>
                    <a:latin typeface="Montserrat" panose="00000500000000000000" pitchFamily="2" charset="0"/>
                  </a:rPr>
                  <a:t>G: </a:t>
                </a:r>
                <a:r>
                  <a:rPr lang="en-US" sz="2000">
                    <a:solidFill>
                      <a:schemeClr val="accent3"/>
                    </a:solidFill>
                    <a:latin typeface="Montserrat" panose="00000500000000000000" pitchFamily="2" charset="0"/>
                  </a:rPr>
                  <a:t>0</a:t>
                </a:r>
              </a:p>
              <a:p>
                <a:r>
                  <a:rPr lang="en-US" sz="2000" b="1">
                    <a:solidFill>
                      <a:schemeClr val="accent3"/>
                    </a:solidFill>
                    <a:latin typeface="Montserrat" panose="00000500000000000000" pitchFamily="2" charset="0"/>
                  </a:rPr>
                  <a:t>B: </a:t>
                </a:r>
                <a:r>
                  <a:rPr lang="en-US" sz="2000">
                    <a:solidFill>
                      <a:schemeClr val="accent3"/>
                    </a:solidFill>
                    <a:latin typeface="Montserrat" panose="00000500000000000000" pitchFamily="2" charset="0"/>
                  </a:rPr>
                  <a:t>140</a:t>
                </a:r>
                <a:endParaRPr lang="en-GB" sz="2000">
                  <a:solidFill>
                    <a:schemeClr val="accent3"/>
                  </a:solidFill>
                  <a:latin typeface="Montserrat" panose="00000500000000000000" pitchFamily="2" charset="0"/>
                </a:endParaRPr>
              </a:p>
            </p:txBody>
          </p:sp>
        </p:grp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1023BC12-DED9-3703-402C-A76CF9987B3B}"/>
                </a:ext>
              </a:extLst>
            </p:cNvPr>
            <p:cNvSpPr txBox="1"/>
            <p:nvPr userDrawn="1"/>
          </p:nvSpPr>
          <p:spPr>
            <a:xfrm>
              <a:off x="5253824" y="2790776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3"/>
                  </a:solidFill>
                  <a:latin typeface="Montserrat" panose="00000500000000000000" pitchFamily="2" charset="0"/>
                </a:rPr>
                <a:t>HEX# EC008C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19D6FBF-9A93-8E8B-CAF7-4A980AD64660}"/>
              </a:ext>
            </a:extLst>
          </p:cNvPr>
          <p:cNvGrpSpPr/>
          <p:nvPr userDrawn="1"/>
        </p:nvGrpSpPr>
        <p:grpSpPr>
          <a:xfrm>
            <a:off x="6588656" y="1735627"/>
            <a:ext cx="1575487" cy="1506738"/>
            <a:chOff x="6588656" y="1569541"/>
            <a:chExt cx="1575487" cy="1506738"/>
          </a:xfrm>
        </p:grpSpPr>
        <p:grpSp>
          <p:nvGrpSpPr>
            <p:cNvPr id="16" name="Group 15" descr="Blue">
              <a:extLst>
                <a:ext uri="{FF2B5EF4-FFF2-40B4-BE49-F238E27FC236}">
                  <a16:creationId xmlns:a16="http://schemas.microsoft.com/office/drawing/2014/main" id="{8551128D-5505-62B1-1E65-37269D348530}"/>
                </a:ext>
              </a:extLst>
            </p:cNvPr>
            <p:cNvGrpSpPr/>
            <p:nvPr userDrawn="1"/>
          </p:nvGrpSpPr>
          <p:grpSpPr>
            <a:xfrm>
              <a:off x="6588656" y="1569541"/>
              <a:ext cx="1575487" cy="1506738"/>
              <a:chOff x="6073813" y="1467748"/>
              <a:chExt cx="1575487" cy="1506738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F47A3C5B-3225-7755-05BB-39800C2107B7}"/>
                  </a:ext>
                </a:extLst>
              </p:cNvPr>
              <p:cNvSpPr/>
              <p:nvPr userDrawn="1"/>
            </p:nvSpPr>
            <p:spPr>
              <a:xfrm>
                <a:off x="6073813" y="14677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09239DD9-3279-2B9F-DE91-AB0FCA1939CD}"/>
                  </a:ext>
                </a:extLst>
              </p:cNvPr>
              <p:cNvSpPr/>
              <p:nvPr userDrawn="1"/>
            </p:nvSpPr>
            <p:spPr>
              <a:xfrm>
                <a:off x="6073813" y="1467748"/>
                <a:ext cx="271337" cy="150673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277C8D61-F824-3518-C99E-12FF8E1A4339}"/>
                  </a:ext>
                </a:extLst>
              </p:cNvPr>
              <p:cNvSpPr/>
              <p:nvPr userDrawn="1"/>
            </p:nvSpPr>
            <p:spPr>
              <a:xfrm>
                <a:off x="6376407" y="17022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4"/>
                    </a:solidFill>
                    <a:latin typeface="Montserrat" panose="00000500000000000000" pitchFamily="2" charset="0"/>
                  </a:rPr>
                  <a:t>R: </a:t>
                </a:r>
                <a:r>
                  <a:rPr lang="en-US" sz="2000">
                    <a:solidFill>
                      <a:schemeClr val="accent4"/>
                    </a:solidFill>
                    <a:latin typeface="Montserrat" panose="00000500000000000000" pitchFamily="2" charset="0"/>
                  </a:rPr>
                  <a:t>0</a:t>
                </a:r>
                <a:endParaRPr lang="en-US" sz="2000" b="1">
                  <a:solidFill>
                    <a:schemeClr val="accent4"/>
                  </a:solidFill>
                  <a:latin typeface="Montserrat" panose="00000500000000000000" pitchFamily="2" charset="0"/>
                </a:endParaRPr>
              </a:p>
              <a:p>
                <a:r>
                  <a:rPr lang="en-US" sz="2000" b="1">
                    <a:solidFill>
                      <a:schemeClr val="accent4"/>
                    </a:solidFill>
                    <a:latin typeface="Montserrat" panose="00000500000000000000" pitchFamily="2" charset="0"/>
                  </a:rPr>
                  <a:t>G: </a:t>
                </a:r>
                <a:r>
                  <a:rPr lang="en-US" sz="2000">
                    <a:solidFill>
                      <a:schemeClr val="accent4"/>
                    </a:solidFill>
                    <a:latin typeface="Montserrat" panose="00000500000000000000" pitchFamily="2" charset="0"/>
                  </a:rPr>
                  <a:t>174</a:t>
                </a:r>
              </a:p>
              <a:p>
                <a:r>
                  <a:rPr lang="en-US" sz="2000" b="1">
                    <a:solidFill>
                      <a:schemeClr val="accent4"/>
                    </a:solidFill>
                    <a:latin typeface="Montserrat" panose="00000500000000000000" pitchFamily="2" charset="0"/>
                  </a:rPr>
                  <a:t>B: </a:t>
                </a:r>
                <a:r>
                  <a:rPr lang="en-US" sz="2000">
                    <a:solidFill>
                      <a:schemeClr val="accent4"/>
                    </a:solidFill>
                    <a:latin typeface="Montserrat" panose="00000500000000000000" pitchFamily="2" charset="0"/>
                  </a:rPr>
                  <a:t>239</a:t>
                </a:r>
                <a:endParaRPr lang="en-GB" sz="2000">
                  <a:solidFill>
                    <a:schemeClr val="accent4"/>
                  </a:solidFill>
                  <a:latin typeface="Montserrat" panose="00000500000000000000" pitchFamily="2" charset="0"/>
                </a:endParaRPr>
              </a:p>
            </p:txBody>
          </p:sp>
        </p:grp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47EBC304-9EE8-FCB6-9904-6FD299CF18B8}"/>
                </a:ext>
              </a:extLst>
            </p:cNvPr>
            <p:cNvSpPr txBox="1"/>
            <p:nvPr userDrawn="1"/>
          </p:nvSpPr>
          <p:spPr>
            <a:xfrm>
              <a:off x="6955034" y="2790776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4"/>
                  </a:solidFill>
                  <a:latin typeface="Montserrat" panose="00000500000000000000" pitchFamily="2" charset="0"/>
                </a:rPr>
                <a:t>HEX# 00AEEF</a:t>
              </a: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D27F5B94-965F-3F70-8BAA-FD9FE22E30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77940" y="1401027"/>
            <a:ext cx="1527906" cy="735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91E51FE-AE16-847F-9AA0-B76BDC526015}"/>
              </a:ext>
            </a:extLst>
          </p:cNvPr>
          <p:cNvGrpSpPr/>
          <p:nvPr userDrawn="1"/>
        </p:nvGrpSpPr>
        <p:grpSpPr>
          <a:xfrm>
            <a:off x="8577940" y="1735627"/>
            <a:ext cx="1575487" cy="1506738"/>
            <a:chOff x="8577940" y="1562638"/>
            <a:chExt cx="1575487" cy="1506738"/>
          </a:xfrm>
        </p:grpSpPr>
        <p:grpSp>
          <p:nvGrpSpPr>
            <p:cNvPr id="36" name="Group 35" descr="Green">
              <a:extLst>
                <a:ext uri="{FF2B5EF4-FFF2-40B4-BE49-F238E27FC236}">
                  <a16:creationId xmlns:a16="http://schemas.microsoft.com/office/drawing/2014/main" id="{E0275AA6-861E-6F54-2AF7-5B045669FC51}"/>
                </a:ext>
              </a:extLst>
            </p:cNvPr>
            <p:cNvGrpSpPr/>
            <p:nvPr userDrawn="1"/>
          </p:nvGrpSpPr>
          <p:grpSpPr>
            <a:xfrm>
              <a:off x="8577940" y="1562638"/>
              <a:ext cx="1575487" cy="1506738"/>
              <a:chOff x="8453785" y="1467748"/>
              <a:chExt cx="1575487" cy="1506738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CD941C4-31ED-EDE0-850B-B76092F549A2}"/>
                  </a:ext>
                </a:extLst>
              </p:cNvPr>
              <p:cNvSpPr/>
              <p:nvPr userDrawn="1"/>
            </p:nvSpPr>
            <p:spPr>
              <a:xfrm>
                <a:off x="8453785" y="14677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45F50C0B-2CE3-83C2-1ADB-4A9FE8C080E9}"/>
                  </a:ext>
                </a:extLst>
              </p:cNvPr>
              <p:cNvSpPr/>
              <p:nvPr userDrawn="1"/>
            </p:nvSpPr>
            <p:spPr>
              <a:xfrm>
                <a:off x="8453785" y="1467748"/>
                <a:ext cx="271337" cy="1506738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BF978E1A-8553-A3DE-AC92-94F633106B00}"/>
                  </a:ext>
                </a:extLst>
              </p:cNvPr>
              <p:cNvSpPr/>
              <p:nvPr userDrawn="1"/>
            </p:nvSpPr>
            <p:spPr>
              <a:xfrm>
                <a:off x="8756379" y="17022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rgbClr val="00B050"/>
                    </a:solidFill>
                    <a:latin typeface="Montserrat" panose="00000500000000000000" pitchFamily="2" charset="0"/>
                  </a:rPr>
                  <a:t>R: </a:t>
                </a:r>
                <a:r>
                  <a:rPr lang="en-US" sz="2000">
                    <a:solidFill>
                      <a:srgbClr val="00B050"/>
                    </a:solidFill>
                    <a:latin typeface="Montserrat" panose="00000500000000000000" pitchFamily="2" charset="0"/>
                  </a:rPr>
                  <a:t> 0</a:t>
                </a:r>
                <a:endParaRPr lang="en-US" sz="2000" b="1">
                  <a:solidFill>
                    <a:srgbClr val="00B050"/>
                  </a:solidFill>
                  <a:latin typeface="Montserrat" panose="00000500000000000000" pitchFamily="2" charset="0"/>
                </a:endParaRPr>
              </a:p>
              <a:p>
                <a:r>
                  <a:rPr lang="en-US" sz="2000" b="1">
                    <a:solidFill>
                      <a:srgbClr val="00B050"/>
                    </a:solidFill>
                    <a:latin typeface="Montserrat" panose="00000500000000000000" pitchFamily="2" charset="0"/>
                  </a:rPr>
                  <a:t>G:  </a:t>
                </a:r>
                <a:r>
                  <a:rPr lang="en-US" sz="2000">
                    <a:solidFill>
                      <a:srgbClr val="00B050"/>
                    </a:solidFill>
                    <a:latin typeface="Montserrat" panose="00000500000000000000" pitchFamily="2" charset="0"/>
                  </a:rPr>
                  <a:t>176</a:t>
                </a:r>
              </a:p>
              <a:p>
                <a:r>
                  <a:rPr lang="en-US" sz="2000" b="1">
                    <a:solidFill>
                      <a:srgbClr val="00B050"/>
                    </a:solidFill>
                    <a:latin typeface="Montserrat" panose="00000500000000000000" pitchFamily="2" charset="0"/>
                  </a:rPr>
                  <a:t>B: </a:t>
                </a:r>
                <a:r>
                  <a:rPr lang="en-US" sz="2000">
                    <a:solidFill>
                      <a:srgbClr val="00B050"/>
                    </a:solidFill>
                    <a:latin typeface="Montserrat" panose="00000500000000000000" pitchFamily="2" charset="0"/>
                  </a:rPr>
                  <a:t> 80</a:t>
                </a:r>
                <a:endParaRPr lang="en-GB" sz="2000">
                  <a:solidFill>
                    <a:srgbClr val="00B050"/>
                  </a:solidFill>
                  <a:latin typeface="Montserrat" panose="00000500000000000000" pitchFamily="2" charset="0"/>
                </a:endParaRPr>
              </a:p>
            </p:txBody>
          </p:sp>
        </p:grp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61CDAC73-F97F-3ECF-5D70-294808DBD155}"/>
                </a:ext>
              </a:extLst>
            </p:cNvPr>
            <p:cNvSpPr txBox="1"/>
            <p:nvPr userDrawn="1"/>
          </p:nvSpPr>
          <p:spPr>
            <a:xfrm>
              <a:off x="8953955" y="2790776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rgbClr val="00B050"/>
                  </a:solidFill>
                  <a:latin typeface="Montserrat" panose="00000500000000000000" pitchFamily="2" charset="0"/>
                </a:rPr>
                <a:t>HEX# 00B050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20F5788B-B05D-AF87-3BB2-48079E21FF30}"/>
              </a:ext>
            </a:extLst>
          </p:cNvPr>
          <p:cNvGrpSpPr/>
          <p:nvPr userDrawn="1"/>
        </p:nvGrpSpPr>
        <p:grpSpPr>
          <a:xfrm>
            <a:off x="1572981" y="3505738"/>
            <a:ext cx="1575487" cy="1526063"/>
            <a:chOff x="1572981" y="3505738"/>
            <a:chExt cx="1575487" cy="1526063"/>
          </a:xfrm>
        </p:grpSpPr>
        <p:grpSp>
          <p:nvGrpSpPr>
            <p:cNvPr id="20" name="Group 19" descr="Orange 1">
              <a:extLst>
                <a:ext uri="{FF2B5EF4-FFF2-40B4-BE49-F238E27FC236}">
                  <a16:creationId xmlns:a16="http://schemas.microsoft.com/office/drawing/2014/main" id="{B1C97F3A-1E9C-625D-C2A5-38EF5CDA52DD}"/>
                </a:ext>
              </a:extLst>
            </p:cNvPr>
            <p:cNvGrpSpPr/>
            <p:nvPr userDrawn="1"/>
          </p:nvGrpSpPr>
          <p:grpSpPr>
            <a:xfrm>
              <a:off x="1572981" y="3505738"/>
              <a:ext cx="1575487" cy="1506738"/>
              <a:chOff x="244513" y="3410848"/>
              <a:chExt cx="1575487" cy="1506738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9AA92976-854E-4E53-53D6-5BF4D008D419}"/>
                  </a:ext>
                </a:extLst>
              </p:cNvPr>
              <p:cNvSpPr/>
              <p:nvPr userDrawn="1"/>
            </p:nvSpPr>
            <p:spPr>
              <a:xfrm>
                <a:off x="244513" y="34108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86568AA0-2D38-5A11-6C40-408010739B51}"/>
                  </a:ext>
                </a:extLst>
              </p:cNvPr>
              <p:cNvSpPr/>
              <p:nvPr userDrawn="1"/>
            </p:nvSpPr>
            <p:spPr>
              <a:xfrm>
                <a:off x="244513" y="3410848"/>
                <a:ext cx="271337" cy="150673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725783F-7E57-C422-C133-573BB42440B2}"/>
                  </a:ext>
                </a:extLst>
              </p:cNvPr>
              <p:cNvSpPr/>
              <p:nvPr userDrawn="1"/>
            </p:nvSpPr>
            <p:spPr>
              <a:xfrm>
                <a:off x="547107" y="36453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tx2"/>
                    </a:solidFill>
                    <a:latin typeface="Montserrat" panose="00000500000000000000" pitchFamily="2" charset="0"/>
                  </a:rPr>
                  <a:t>R: </a:t>
                </a:r>
                <a:r>
                  <a:rPr lang="en-US" sz="2000">
                    <a:solidFill>
                      <a:schemeClr val="tx2"/>
                    </a:solidFill>
                    <a:latin typeface="Montserrat" panose="00000500000000000000" pitchFamily="2" charset="0"/>
                  </a:rPr>
                  <a:t>249</a:t>
                </a:r>
                <a:endParaRPr lang="en-US" sz="2000" b="1">
                  <a:solidFill>
                    <a:schemeClr val="tx2"/>
                  </a:solidFill>
                  <a:latin typeface="Montserrat" panose="00000500000000000000" pitchFamily="2" charset="0"/>
                </a:endParaRPr>
              </a:p>
              <a:p>
                <a:r>
                  <a:rPr lang="en-US" sz="2000" b="1">
                    <a:solidFill>
                      <a:schemeClr val="tx2"/>
                    </a:solidFill>
                    <a:latin typeface="Montserrat" panose="00000500000000000000" pitchFamily="2" charset="0"/>
                  </a:rPr>
                  <a:t>G: </a:t>
                </a:r>
                <a:r>
                  <a:rPr lang="en-US" sz="2000">
                    <a:solidFill>
                      <a:schemeClr val="tx2"/>
                    </a:solidFill>
                    <a:latin typeface="Montserrat" panose="00000500000000000000" pitchFamily="2" charset="0"/>
                  </a:rPr>
                  <a:t>142</a:t>
                </a:r>
              </a:p>
              <a:p>
                <a:r>
                  <a:rPr lang="en-US" sz="2000" b="1">
                    <a:solidFill>
                      <a:schemeClr val="tx2"/>
                    </a:solidFill>
                    <a:latin typeface="Montserrat" panose="00000500000000000000" pitchFamily="2" charset="0"/>
                  </a:rPr>
                  <a:t>B: </a:t>
                </a:r>
                <a:r>
                  <a:rPr lang="en-US" sz="2000">
                    <a:solidFill>
                      <a:schemeClr val="tx2"/>
                    </a:solidFill>
                    <a:latin typeface="Montserrat" panose="00000500000000000000" pitchFamily="2" charset="0"/>
                  </a:rPr>
                  <a:t>43</a:t>
                </a:r>
                <a:endParaRPr lang="en-GB" sz="2000">
                  <a:solidFill>
                    <a:schemeClr val="tx2"/>
                  </a:solidFill>
                  <a:latin typeface="Montserrat" panose="00000500000000000000" pitchFamily="2" charset="0"/>
                </a:endParaRPr>
              </a:p>
            </p:txBody>
          </p:sp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381EDB96-AC4B-4E5E-F631-416E514B3F9B}"/>
                </a:ext>
              </a:extLst>
            </p:cNvPr>
            <p:cNvSpPr txBox="1"/>
            <p:nvPr userDrawn="1"/>
          </p:nvSpPr>
          <p:spPr>
            <a:xfrm>
              <a:off x="1936466" y="4757799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rgbClr val="F98E2B"/>
                  </a:solidFill>
                  <a:latin typeface="Montserrat" panose="00000500000000000000" pitchFamily="2" charset="0"/>
                </a:rPr>
                <a:t>HEX# F98E2B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EAA50A0D-490D-22B4-7FE0-4938D5797847}"/>
              </a:ext>
            </a:extLst>
          </p:cNvPr>
          <p:cNvGrpSpPr/>
          <p:nvPr userDrawn="1"/>
        </p:nvGrpSpPr>
        <p:grpSpPr>
          <a:xfrm>
            <a:off x="3244683" y="3505738"/>
            <a:ext cx="1575487" cy="1526063"/>
            <a:chOff x="3233867" y="3505738"/>
            <a:chExt cx="1575487" cy="1526063"/>
          </a:xfrm>
        </p:grpSpPr>
        <p:grpSp>
          <p:nvGrpSpPr>
            <p:cNvPr id="24" name="Group 23" descr="Teal">
              <a:extLst>
                <a:ext uri="{FF2B5EF4-FFF2-40B4-BE49-F238E27FC236}">
                  <a16:creationId xmlns:a16="http://schemas.microsoft.com/office/drawing/2014/main" id="{E842476B-F9C2-870C-09F7-2413207DE2F8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GrpSpPr/>
            <p:nvPr userDrawn="1"/>
          </p:nvGrpSpPr>
          <p:grpSpPr>
            <a:xfrm>
              <a:off x="3233867" y="3505738"/>
              <a:ext cx="1575487" cy="1506738"/>
              <a:chOff x="2187613" y="3410848"/>
              <a:chExt cx="1575487" cy="1506738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E6648D33-988A-521C-4D2C-A6D68333ACD2}"/>
                  </a:ext>
                </a:extLst>
              </p:cNvPr>
              <p:cNvSpPr/>
              <p:nvPr userDrawn="1"/>
            </p:nvSpPr>
            <p:spPr>
              <a:xfrm>
                <a:off x="2187613" y="34108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9FE7BEA2-4982-C5FE-9D97-91739B758EE2}"/>
                  </a:ext>
                </a:extLst>
              </p:cNvPr>
              <p:cNvSpPr/>
              <p:nvPr userDrawn="1"/>
            </p:nvSpPr>
            <p:spPr>
              <a:xfrm>
                <a:off x="2187613" y="3410848"/>
                <a:ext cx="271337" cy="1506738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1F7F964B-7036-90FC-3A55-3A0C6D5D75B5}"/>
                  </a:ext>
                </a:extLst>
              </p:cNvPr>
              <p:cNvSpPr/>
              <p:nvPr userDrawn="1"/>
            </p:nvSpPr>
            <p:spPr>
              <a:xfrm>
                <a:off x="2490207" y="36453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6"/>
                    </a:solidFill>
                    <a:latin typeface="Montserrat" panose="00000500000000000000" pitchFamily="2" charset="0"/>
                  </a:rPr>
                  <a:t>R: </a:t>
                </a:r>
                <a:r>
                  <a:rPr lang="en-US" sz="2000">
                    <a:solidFill>
                      <a:schemeClr val="accent6"/>
                    </a:solidFill>
                    <a:latin typeface="Montserrat" panose="00000500000000000000" pitchFamily="2" charset="0"/>
                  </a:rPr>
                  <a:t>19</a:t>
                </a:r>
                <a:endParaRPr lang="en-US" sz="2000" b="1">
                  <a:solidFill>
                    <a:schemeClr val="accent6"/>
                  </a:solidFill>
                  <a:latin typeface="Montserrat" panose="00000500000000000000" pitchFamily="2" charset="0"/>
                </a:endParaRPr>
              </a:p>
              <a:p>
                <a:r>
                  <a:rPr lang="en-US" sz="2000" b="1">
                    <a:solidFill>
                      <a:schemeClr val="accent6"/>
                    </a:solidFill>
                    <a:latin typeface="Montserrat" panose="00000500000000000000" pitchFamily="2" charset="0"/>
                  </a:rPr>
                  <a:t>G: 208</a:t>
                </a:r>
                <a:endParaRPr lang="en-US" sz="2000">
                  <a:solidFill>
                    <a:schemeClr val="accent6"/>
                  </a:solidFill>
                  <a:latin typeface="Montserrat" panose="00000500000000000000" pitchFamily="2" charset="0"/>
                </a:endParaRPr>
              </a:p>
              <a:p>
                <a:r>
                  <a:rPr lang="en-US" sz="2000" b="1">
                    <a:solidFill>
                      <a:schemeClr val="accent6"/>
                    </a:solidFill>
                    <a:latin typeface="Montserrat" panose="00000500000000000000" pitchFamily="2" charset="0"/>
                  </a:rPr>
                  <a:t>B: 202</a:t>
                </a:r>
                <a:endParaRPr lang="en-GB" sz="2000">
                  <a:solidFill>
                    <a:schemeClr val="accent6"/>
                  </a:solidFill>
                  <a:latin typeface="Montserrat" panose="00000500000000000000" pitchFamily="2" charset="0"/>
                </a:endParaRPr>
              </a:p>
            </p:txBody>
          </p:sp>
        </p:grp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6A16C8D-9AF8-1D3E-D240-A707B765CA48}"/>
                </a:ext>
              </a:extLst>
            </p:cNvPr>
            <p:cNvSpPr txBox="1"/>
            <p:nvPr userDrawn="1"/>
          </p:nvSpPr>
          <p:spPr>
            <a:xfrm>
              <a:off x="3595145" y="4757799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6"/>
                  </a:solidFill>
                  <a:latin typeface="Montserrat" panose="00000500000000000000" pitchFamily="2" charset="0"/>
                </a:rPr>
                <a:t>HEX# 13D0CA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F421AFFE-3967-D1F1-5F63-BD66AB4F3BE3}"/>
              </a:ext>
            </a:extLst>
          </p:cNvPr>
          <p:cNvGrpSpPr/>
          <p:nvPr userDrawn="1"/>
        </p:nvGrpSpPr>
        <p:grpSpPr>
          <a:xfrm>
            <a:off x="4916385" y="3508619"/>
            <a:ext cx="1576056" cy="1520301"/>
            <a:chOff x="4889027" y="3511500"/>
            <a:chExt cx="1576056" cy="1520301"/>
          </a:xfrm>
        </p:grpSpPr>
        <p:grpSp>
          <p:nvGrpSpPr>
            <p:cNvPr id="28" name="Group 27" descr="Lime Green">
              <a:extLst>
                <a:ext uri="{FF2B5EF4-FFF2-40B4-BE49-F238E27FC236}">
                  <a16:creationId xmlns:a16="http://schemas.microsoft.com/office/drawing/2014/main" id="{A9AAA958-3998-D8AE-3CB2-90FB6C847E39}"/>
                </a:ext>
              </a:extLst>
            </p:cNvPr>
            <p:cNvGrpSpPr/>
            <p:nvPr userDrawn="1"/>
          </p:nvGrpSpPr>
          <p:grpSpPr>
            <a:xfrm>
              <a:off x="4889027" y="3511500"/>
              <a:ext cx="1576056" cy="1506738"/>
              <a:chOff x="4130713" y="3410848"/>
              <a:chExt cx="1576056" cy="1506738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3E8C02A4-AEA9-923F-D4FD-B778BFE18738}"/>
                  </a:ext>
                </a:extLst>
              </p:cNvPr>
              <p:cNvSpPr/>
              <p:nvPr userDrawn="1"/>
            </p:nvSpPr>
            <p:spPr>
              <a:xfrm>
                <a:off x="4130713" y="34108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0793D54C-540F-04FA-4310-F86C68F0B92E}"/>
                  </a:ext>
                </a:extLst>
              </p:cNvPr>
              <p:cNvSpPr/>
              <p:nvPr userDrawn="1"/>
            </p:nvSpPr>
            <p:spPr>
              <a:xfrm>
                <a:off x="4130713" y="3410848"/>
                <a:ext cx="271337" cy="15067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C9A3215D-6F35-FFAB-3277-3E9F2BDC2BD0}"/>
                  </a:ext>
                </a:extLst>
              </p:cNvPr>
              <p:cNvSpPr/>
              <p:nvPr userDrawn="1"/>
            </p:nvSpPr>
            <p:spPr>
              <a:xfrm>
                <a:off x="4438812" y="3645326"/>
                <a:ext cx="1267957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bg2"/>
                    </a:solidFill>
                    <a:latin typeface="Montserrat" panose="00000500000000000000" pitchFamily="2" charset="0"/>
                  </a:rPr>
                  <a:t>R: </a:t>
                </a:r>
                <a:r>
                  <a:rPr lang="en-US" sz="2000">
                    <a:solidFill>
                      <a:schemeClr val="bg2"/>
                    </a:solidFill>
                    <a:latin typeface="Montserrat" panose="00000500000000000000" pitchFamily="2" charset="0"/>
                  </a:rPr>
                  <a:t>163</a:t>
                </a:r>
                <a:endParaRPr lang="en-US" sz="2000" b="1">
                  <a:solidFill>
                    <a:schemeClr val="bg2"/>
                  </a:solidFill>
                  <a:latin typeface="Montserrat" panose="00000500000000000000" pitchFamily="2" charset="0"/>
                </a:endParaRPr>
              </a:p>
              <a:p>
                <a:r>
                  <a:rPr lang="en-US" sz="2000" b="1">
                    <a:solidFill>
                      <a:schemeClr val="bg2"/>
                    </a:solidFill>
                    <a:latin typeface="Montserrat" panose="00000500000000000000" pitchFamily="2" charset="0"/>
                  </a:rPr>
                  <a:t>G: </a:t>
                </a:r>
                <a:r>
                  <a:rPr lang="en-US" sz="2000">
                    <a:solidFill>
                      <a:schemeClr val="bg2"/>
                    </a:solidFill>
                    <a:latin typeface="Montserrat" panose="00000500000000000000" pitchFamily="2" charset="0"/>
                  </a:rPr>
                  <a:t>213</a:t>
                </a:r>
              </a:p>
              <a:p>
                <a:r>
                  <a:rPr lang="en-US" sz="2000" b="1">
                    <a:solidFill>
                      <a:schemeClr val="bg2"/>
                    </a:solidFill>
                    <a:latin typeface="Montserrat" panose="00000500000000000000" pitchFamily="2" charset="0"/>
                  </a:rPr>
                  <a:t>B:</a:t>
                </a:r>
                <a:r>
                  <a:rPr lang="en-US" sz="2000">
                    <a:solidFill>
                      <a:schemeClr val="bg2"/>
                    </a:solidFill>
                    <a:latin typeface="Montserrat" panose="00000500000000000000" pitchFamily="2" charset="0"/>
                  </a:rPr>
                  <a:t> 95</a:t>
                </a:r>
                <a:endParaRPr lang="en-GB" sz="2000">
                  <a:solidFill>
                    <a:schemeClr val="bg2"/>
                  </a:solidFill>
                  <a:latin typeface="Montserrat" panose="00000500000000000000" pitchFamily="2" charset="0"/>
                </a:endParaRPr>
              </a:p>
            </p:txBody>
          </p:sp>
        </p:grp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34D3D7DB-3ABB-B8F5-654B-62BA4995BEF1}"/>
                </a:ext>
              </a:extLst>
            </p:cNvPr>
            <p:cNvSpPr txBox="1"/>
            <p:nvPr userDrawn="1"/>
          </p:nvSpPr>
          <p:spPr>
            <a:xfrm>
              <a:off x="5253824" y="4757799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bg2"/>
                  </a:solidFill>
                  <a:latin typeface="Montserrat" panose="00000500000000000000" pitchFamily="2" charset="0"/>
                </a:rPr>
                <a:t>HEX# A3D55F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D84F28FE-B1C8-4205-0854-12FC23B12BB7}"/>
              </a:ext>
            </a:extLst>
          </p:cNvPr>
          <p:cNvGrpSpPr/>
          <p:nvPr userDrawn="1"/>
        </p:nvGrpSpPr>
        <p:grpSpPr>
          <a:xfrm>
            <a:off x="6588656" y="3508619"/>
            <a:ext cx="1575487" cy="1520301"/>
            <a:chOff x="6588656" y="3511500"/>
            <a:chExt cx="1575487" cy="1520301"/>
          </a:xfrm>
        </p:grpSpPr>
        <p:grpSp>
          <p:nvGrpSpPr>
            <p:cNvPr id="32" name="Group 31" descr="Orange 2">
              <a:extLst>
                <a:ext uri="{FF2B5EF4-FFF2-40B4-BE49-F238E27FC236}">
                  <a16:creationId xmlns:a16="http://schemas.microsoft.com/office/drawing/2014/main" id="{32C9E950-1E8C-4FE2-707F-5EE4F495F23A}"/>
                </a:ext>
              </a:extLst>
            </p:cNvPr>
            <p:cNvGrpSpPr/>
            <p:nvPr userDrawn="1"/>
          </p:nvGrpSpPr>
          <p:grpSpPr>
            <a:xfrm>
              <a:off x="6588656" y="3511500"/>
              <a:ext cx="1575487" cy="1506738"/>
              <a:chOff x="6073813" y="3410848"/>
              <a:chExt cx="1575487" cy="1506738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3FBDAD-86F2-DED9-5FBA-3BB7789B4748}"/>
                  </a:ext>
                </a:extLst>
              </p:cNvPr>
              <p:cNvSpPr/>
              <p:nvPr userDrawn="1"/>
            </p:nvSpPr>
            <p:spPr>
              <a:xfrm>
                <a:off x="6073813" y="34108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99442025-EC6B-9202-7501-CD7877026D1B}"/>
                  </a:ext>
                </a:extLst>
              </p:cNvPr>
              <p:cNvSpPr/>
              <p:nvPr userDrawn="1"/>
            </p:nvSpPr>
            <p:spPr>
              <a:xfrm>
                <a:off x="6073813" y="3410848"/>
                <a:ext cx="271337" cy="1506738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6F734C66-6C25-41BC-44C1-4C2B2BDB2EB7}"/>
                  </a:ext>
                </a:extLst>
              </p:cNvPr>
              <p:cNvSpPr/>
              <p:nvPr userDrawn="1"/>
            </p:nvSpPr>
            <p:spPr>
              <a:xfrm>
                <a:off x="6376407" y="36453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5"/>
                    </a:solidFill>
                    <a:latin typeface="Montserrat" panose="00000500000000000000" pitchFamily="2" charset="0"/>
                  </a:rPr>
                  <a:t>R: </a:t>
                </a:r>
                <a:r>
                  <a:rPr lang="en-US" sz="2000">
                    <a:solidFill>
                      <a:schemeClr val="accent5"/>
                    </a:solidFill>
                    <a:latin typeface="Montserrat" panose="00000500000000000000" pitchFamily="2" charset="0"/>
                  </a:rPr>
                  <a:t>236</a:t>
                </a:r>
                <a:endParaRPr lang="en-US" sz="2000" b="1">
                  <a:solidFill>
                    <a:schemeClr val="accent5"/>
                  </a:solidFill>
                  <a:latin typeface="Montserrat" panose="00000500000000000000" pitchFamily="2" charset="0"/>
                </a:endParaRPr>
              </a:p>
              <a:p>
                <a:r>
                  <a:rPr lang="en-US" sz="2000" b="1">
                    <a:solidFill>
                      <a:schemeClr val="accent5"/>
                    </a:solidFill>
                    <a:latin typeface="Montserrat" panose="00000500000000000000" pitchFamily="2" charset="0"/>
                  </a:rPr>
                  <a:t>G: </a:t>
                </a:r>
                <a:r>
                  <a:rPr lang="en-US" sz="2000">
                    <a:solidFill>
                      <a:schemeClr val="accent5"/>
                    </a:solidFill>
                    <a:latin typeface="Montserrat" panose="00000500000000000000" pitchFamily="2" charset="0"/>
                  </a:rPr>
                  <a:t>232</a:t>
                </a:r>
              </a:p>
              <a:p>
                <a:r>
                  <a:rPr lang="en-US" sz="2000" b="1">
                    <a:solidFill>
                      <a:schemeClr val="accent5"/>
                    </a:solidFill>
                    <a:latin typeface="Montserrat" panose="00000500000000000000" pitchFamily="2" charset="0"/>
                  </a:rPr>
                  <a:t>B: </a:t>
                </a:r>
                <a:r>
                  <a:rPr lang="en-US" sz="2000">
                    <a:solidFill>
                      <a:schemeClr val="accent5"/>
                    </a:solidFill>
                    <a:latin typeface="Montserrat" panose="00000500000000000000" pitchFamily="2" charset="0"/>
                  </a:rPr>
                  <a:t>25</a:t>
                </a:r>
                <a:endParaRPr lang="en-GB" sz="2000">
                  <a:solidFill>
                    <a:schemeClr val="accent5"/>
                  </a:solidFill>
                  <a:latin typeface="Montserrat" panose="00000500000000000000" pitchFamily="2" charset="0"/>
                </a:endParaRPr>
              </a:p>
            </p:txBody>
          </p:sp>
        </p:grp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EC730B10-4598-E506-CA62-CB59C4913B33}"/>
                </a:ext>
              </a:extLst>
            </p:cNvPr>
            <p:cNvSpPr txBox="1"/>
            <p:nvPr userDrawn="1"/>
          </p:nvSpPr>
          <p:spPr>
            <a:xfrm>
              <a:off x="6955034" y="4757799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5"/>
                  </a:solidFill>
                  <a:latin typeface="Montserrat" panose="00000500000000000000" pitchFamily="2" charset="0"/>
                </a:rPr>
                <a:t>HEX# ECE819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E2290FDF-C8BE-8838-DD16-5C882AE20EA8}"/>
              </a:ext>
            </a:extLst>
          </p:cNvPr>
          <p:cNvGrpSpPr/>
          <p:nvPr userDrawn="1"/>
        </p:nvGrpSpPr>
        <p:grpSpPr>
          <a:xfrm>
            <a:off x="8578725" y="3505738"/>
            <a:ext cx="1575487" cy="1526063"/>
            <a:chOff x="8578725" y="3505738"/>
            <a:chExt cx="1575487" cy="1526063"/>
          </a:xfrm>
        </p:grpSpPr>
        <p:grpSp>
          <p:nvGrpSpPr>
            <p:cNvPr id="40" name="Group 39" descr="Red">
              <a:extLst>
                <a:ext uri="{FF2B5EF4-FFF2-40B4-BE49-F238E27FC236}">
                  <a16:creationId xmlns:a16="http://schemas.microsoft.com/office/drawing/2014/main" id="{310FDE6E-ECB1-5852-0526-5144B9BCF487}"/>
                </a:ext>
              </a:extLst>
            </p:cNvPr>
            <p:cNvGrpSpPr/>
            <p:nvPr userDrawn="1"/>
          </p:nvGrpSpPr>
          <p:grpSpPr>
            <a:xfrm>
              <a:off x="8578725" y="3505738"/>
              <a:ext cx="1575487" cy="1506738"/>
              <a:chOff x="8453785" y="3410848"/>
              <a:chExt cx="1575487" cy="1506738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966ED7EA-917E-AD87-C012-447802F954A8}"/>
                  </a:ext>
                </a:extLst>
              </p:cNvPr>
              <p:cNvSpPr/>
              <p:nvPr userDrawn="1"/>
            </p:nvSpPr>
            <p:spPr>
              <a:xfrm>
                <a:off x="8453785" y="34108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E47BD5B0-9971-D67C-E57E-FA8B5C4506FA}"/>
                  </a:ext>
                </a:extLst>
              </p:cNvPr>
              <p:cNvSpPr/>
              <p:nvPr userDrawn="1"/>
            </p:nvSpPr>
            <p:spPr>
              <a:xfrm>
                <a:off x="8453785" y="3410848"/>
                <a:ext cx="271337" cy="1506738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DD9A61F5-F2CA-196C-C3B9-A90D4D7D47CC}"/>
                  </a:ext>
                </a:extLst>
              </p:cNvPr>
              <p:cNvSpPr/>
              <p:nvPr userDrawn="1"/>
            </p:nvSpPr>
            <p:spPr>
              <a:xfrm>
                <a:off x="8756379" y="36453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rgbClr val="C00000"/>
                    </a:solidFill>
                    <a:latin typeface="Montserrat" panose="00000500000000000000" pitchFamily="2" charset="0"/>
                  </a:rPr>
                  <a:t>R:  </a:t>
                </a:r>
                <a:r>
                  <a:rPr lang="en-US" sz="2000">
                    <a:solidFill>
                      <a:srgbClr val="C00000"/>
                    </a:solidFill>
                    <a:latin typeface="Montserrat" panose="00000500000000000000" pitchFamily="2" charset="0"/>
                  </a:rPr>
                  <a:t>192</a:t>
                </a:r>
                <a:endParaRPr lang="en-US" sz="2000" b="1">
                  <a:solidFill>
                    <a:srgbClr val="C00000"/>
                  </a:solidFill>
                  <a:latin typeface="Montserrat" panose="00000500000000000000" pitchFamily="2" charset="0"/>
                </a:endParaRPr>
              </a:p>
              <a:p>
                <a:r>
                  <a:rPr lang="en-US" sz="2000" b="1">
                    <a:solidFill>
                      <a:srgbClr val="C00000"/>
                    </a:solidFill>
                    <a:latin typeface="Montserrat" panose="00000500000000000000" pitchFamily="2" charset="0"/>
                  </a:rPr>
                  <a:t>G:  </a:t>
                </a:r>
                <a:r>
                  <a:rPr lang="en-US" sz="2000">
                    <a:solidFill>
                      <a:srgbClr val="C00000"/>
                    </a:solidFill>
                    <a:latin typeface="Montserrat" panose="00000500000000000000" pitchFamily="2" charset="0"/>
                  </a:rPr>
                  <a:t>0</a:t>
                </a:r>
              </a:p>
              <a:p>
                <a:r>
                  <a:rPr lang="en-US" sz="2000" b="1">
                    <a:solidFill>
                      <a:srgbClr val="C00000"/>
                    </a:solidFill>
                    <a:latin typeface="Montserrat" panose="00000500000000000000" pitchFamily="2" charset="0"/>
                  </a:rPr>
                  <a:t>B:  </a:t>
                </a:r>
                <a:r>
                  <a:rPr lang="en-US" sz="2000">
                    <a:solidFill>
                      <a:srgbClr val="C00000"/>
                    </a:solidFill>
                    <a:latin typeface="Montserrat" panose="00000500000000000000" pitchFamily="2" charset="0"/>
                  </a:rPr>
                  <a:t>0</a:t>
                </a:r>
                <a:endParaRPr lang="en-GB" sz="2000">
                  <a:solidFill>
                    <a:srgbClr val="C00000"/>
                  </a:solidFill>
                  <a:latin typeface="Montserrat" panose="00000500000000000000" pitchFamily="2" charset="0"/>
                </a:endParaRPr>
              </a:p>
            </p:txBody>
          </p: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186ED5B6-AFB5-A00F-ADC9-7DC83A2C4105}"/>
                </a:ext>
              </a:extLst>
            </p:cNvPr>
            <p:cNvSpPr txBox="1"/>
            <p:nvPr userDrawn="1"/>
          </p:nvSpPr>
          <p:spPr>
            <a:xfrm>
              <a:off x="8953955" y="4757799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rgbClr val="C00000"/>
                  </a:solidFill>
                  <a:latin typeface="Montserrat" panose="00000500000000000000" pitchFamily="2" charset="0"/>
                </a:rPr>
                <a:t>HEX# C0000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14666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_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D3526D-2D43-41BD-AE11-AFF0A422C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853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D3526D-2D43-41BD-AE11-AFF0A422C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D15303-77E3-4216-BE36-733574EB51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Cover Slide Title Block"/>
          <p:cNvSpPr>
            <a:spLocks noGrp="1"/>
          </p:cNvSpPr>
          <p:nvPr>
            <p:ph type="ctrTitle" hasCustomPrompt="1"/>
          </p:nvPr>
        </p:nvSpPr>
        <p:spPr>
          <a:xfrm>
            <a:off x="458725" y="2295728"/>
            <a:ext cx="7072233" cy="1253627"/>
          </a:xfrm>
          <a:noFill/>
        </p:spPr>
        <p:txBody>
          <a:bodyPr anchor="b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3" name="Subtitle 2" descr="Cover Slide Subtitle Block"/>
          <p:cNvSpPr>
            <a:spLocks noGrp="1"/>
          </p:cNvSpPr>
          <p:nvPr>
            <p:ph type="subTitle" idx="1"/>
          </p:nvPr>
        </p:nvSpPr>
        <p:spPr>
          <a:xfrm>
            <a:off x="458725" y="3774310"/>
            <a:ext cx="7072233" cy="508228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1B3F8D5-CAAE-6A47-8861-17C3550465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9435"/>
          <a:stretch/>
        </p:blipFill>
        <p:spPr>
          <a:xfrm>
            <a:off x="10568462" y="69413"/>
            <a:ext cx="1535484" cy="678858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4B169B4-F522-3A2C-FF36-961A6B629B3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96825" y="944383"/>
            <a:ext cx="3148075" cy="381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075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- Photo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7F38E5B-CC5C-7002-2AA4-EAB7AE8194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10" y="1861"/>
            <a:ext cx="12185381" cy="6853450"/>
          </a:xfrm>
          <a:prstGeom prst="rect">
            <a:avLst/>
          </a:prstGeom>
        </p:spPr>
      </p:pic>
      <p:sp>
        <p:nvSpPr>
          <p:cNvPr id="6" name="Title 1" descr="Cover Slide Title Block">
            <a:extLst>
              <a:ext uri="{FF2B5EF4-FFF2-40B4-BE49-F238E27FC236}">
                <a16:creationId xmlns:a16="http://schemas.microsoft.com/office/drawing/2014/main" id="{A32F10DD-69C6-CE5B-2E2B-F9DEE6237E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5" y="568156"/>
            <a:ext cx="6355543" cy="1253627"/>
          </a:xfrm>
          <a:noFill/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7" name="Subtitle 2" descr="Cover Slide Subtitle Block">
            <a:extLst>
              <a:ext uri="{FF2B5EF4-FFF2-40B4-BE49-F238E27FC236}">
                <a16:creationId xmlns:a16="http://schemas.microsoft.com/office/drawing/2014/main" id="{8F9EE65A-BFD4-13CB-9C40-DFF42657C9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5" y="2078542"/>
            <a:ext cx="6355543" cy="508228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384C9038-73F8-DF10-7549-13227FA7E0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8725" y="5818384"/>
            <a:ext cx="1620837" cy="487362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1"/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en-US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17634355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Simple - Gra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AFC4AA0-48F6-22DB-BDF2-45F34C960A4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9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F84DEB2-0A31-4C55-A2D4-69F9A75B2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9230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F84DEB2-0A31-4C55-A2D4-69F9A75B2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640A19-423A-45EA-A23F-21C8A69941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9" name="Title 1" descr="Title Block for Transition Slide with Photo #3">
            <a:extLst>
              <a:ext uri="{FF2B5EF4-FFF2-40B4-BE49-F238E27FC236}">
                <a16:creationId xmlns:a16="http://schemas.microsoft.com/office/drawing/2014/main" id="{3A24279E-A769-1892-6035-7D19626CD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0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A758476E-A549-F6AE-A8D0-2FCEB7422C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87280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Simpl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01582B9-673D-D486-E5A0-53E92F31722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2" y="0"/>
            <a:ext cx="12193471" cy="6857999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25ACF47-EB87-40E3-AE52-2A6D31B105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536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25ACF47-EB87-40E3-AE52-2A6D31B105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B246EC0-8F8F-49E4-9EA1-A6272D13FF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11" name="Title 1" descr="Title Block for Transition Slide with Photo #3">
            <a:extLst>
              <a:ext uri="{FF2B5EF4-FFF2-40B4-BE49-F238E27FC236}">
                <a16:creationId xmlns:a16="http://schemas.microsoft.com/office/drawing/2014/main" id="{49D59041-AFBC-7E5B-B269-5384A020F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F1E11F2-C716-1A0B-8EE4-37D444A64D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9120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Simple -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17F58EF-B982-9E7E-1DD7-C397820EBDD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9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9A3E7D9-B718-4AFF-9113-2E8D87C0CE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160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9A3E7D9-B718-4AFF-9113-2E8D87C0C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326B13-744E-40E6-B876-9381D128C3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9" name="Title 1" descr="Title Block for Transition Slide with Photo #3">
            <a:extLst>
              <a:ext uri="{FF2B5EF4-FFF2-40B4-BE49-F238E27FC236}">
                <a16:creationId xmlns:a16="http://schemas.microsoft.com/office/drawing/2014/main" id="{82B54384-AB29-7FEB-CAF7-DC14796529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0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82BC34EE-FF22-A0F2-5A2A-DB6646E2E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913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2" y="0"/>
            <a:ext cx="12193471" cy="6857999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78370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9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3650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EF12C74-AB2F-4CFB-BFAA-20C3A325B9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420954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306" imgH="306" progId="TCLayout.ActiveDocument.1">
                  <p:embed/>
                </p:oleObj>
              </mc:Choice>
              <mc:Fallback>
                <p:oleObj name="think-cell Slide" r:id="rId37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EF12C74-AB2F-4CFB-BFAA-20C3A325B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392B98E-190B-40F3-808A-1B89C606445C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B3B38B-BBAD-CB4F-B082-D6F36EBDF9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Montserrat" panose="00000500000000000000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F1B53D-38F5-0E4D-9B1B-7F47F0BA25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938291" y="6564730"/>
            <a:ext cx="65277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 kern="1200">
                <a:solidFill>
                  <a:schemeClr val="bg1"/>
                </a:solidFill>
                <a:effectLst/>
                <a:latin typeface="Montserrat Light" pitchFamily="2" charset="77"/>
                <a:ea typeface="+mn-ea"/>
                <a:cs typeface="+mn-cs"/>
              </a:rPr>
              <a:t>© 2025 Cotiviti, Inc. All rights reserved. All proprietary information shall remain the sole and exclusive property of Cotiviti, Inc.</a:t>
            </a:r>
            <a:endParaRPr lang="en-US" sz="100" b="0" i="0" kern="1200">
              <a:solidFill>
                <a:schemeClr val="bg1"/>
              </a:solidFill>
              <a:effectLst/>
              <a:latin typeface="Montserrat Light" pitchFamily="2" charset="77"/>
              <a:ea typeface="+mn-ea"/>
              <a:cs typeface="+mn-cs"/>
            </a:endParaRPr>
          </a:p>
        </p:txBody>
      </p:sp>
      <p:sp>
        <p:nvSpPr>
          <p:cNvPr id="2" name="Title Placeholder 1" descr="Slide title"/>
          <p:cNvSpPr>
            <a:spLocks noGrp="1"/>
          </p:cNvSpPr>
          <p:nvPr>
            <p:ph type="title"/>
          </p:nvPr>
        </p:nvSpPr>
        <p:spPr>
          <a:xfrm>
            <a:off x="457200" y="365124"/>
            <a:ext cx="11274552" cy="78076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 descr="Slide main content area"/>
          <p:cNvSpPr>
            <a:spLocks noGrp="1"/>
          </p:cNvSpPr>
          <p:nvPr>
            <p:ph type="body" idx="1"/>
          </p:nvPr>
        </p:nvSpPr>
        <p:spPr>
          <a:xfrm>
            <a:off x="457200" y="1284789"/>
            <a:ext cx="11274552" cy="489204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tion Header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1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2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3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4</a:t>
            </a:r>
          </a:p>
        </p:txBody>
      </p:sp>
      <p:sp>
        <p:nvSpPr>
          <p:cNvPr id="6" name="Slide Number Placeholder 5" descr="Page Number"/>
          <p:cNvSpPr>
            <a:spLocks noGrp="1"/>
          </p:cNvSpPr>
          <p:nvPr>
            <p:ph type="sldNum" sz="quarter" idx="4"/>
          </p:nvPr>
        </p:nvSpPr>
        <p:spPr>
          <a:xfrm>
            <a:off x="11249892" y="6532981"/>
            <a:ext cx="484909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/>
                </a:solidFill>
                <a:latin typeface="Montserrat" panose="00000500000000000000" pitchFamily="2" charset="0"/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A pink stripe on a black background&#10;&#10;Description automatically generated">
            <a:extLst>
              <a:ext uri="{FF2B5EF4-FFF2-40B4-BE49-F238E27FC236}">
                <a16:creationId xmlns:a16="http://schemas.microsoft.com/office/drawing/2014/main" id="{D900BA8A-B092-0E5C-E80A-6E38D01E9E6B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387" y="6588523"/>
            <a:ext cx="1242813" cy="146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492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764" r:id="rId2"/>
    <p:sldLayoutId id="2147483765" r:id="rId3"/>
    <p:sldLayoutId id="2147483766" r:id="rId4"/>
    <p:sldLayoutId id="2147483706" r:id="rId5"/>
    <p:sldLayoutId id="2147483707" r:id="rId6"/>
    <p:sldLayoutId id="2147483705" r:id="rId7"/>
    <p:sldLayoutId id="2147483759" r:id="rId8"/>
    <p:sldLayoutId id="2147483761" r:id="rId9"/>
    <p:sldLayoutId id="2147483762" r:id="rId10"/>
    <p:sldLayoutId id="2147483760" r:id="rId11"/>
    <p:sldLayoutId id="2147483763" r:id="rId12"/>
    <p:sldLayoutId id="2147483767" r:id="rId13"/>
    <p:sldLayoutId id="2147483757" r:id="rId14"/>
    <p:sldLayoutId id="2147483675" r:id="rId15"/>
    <p:sldLayoutId id="2147483742" r:id="rId16"/>
    <p:sldLayoutId id="2147483679" r:id="rId17"/>
    <p:sldLayoutId id="2147483680" r:id="rId18"/>
    <p:sldLayoutId id="2147483681" r:id="rId19"/>
    <p:sldLayoutId id="2147483744" r:id="rId20"/>
    <p:sldLayoutId id="2147483745" r:id="rId21"/>
    <p:sldLayoutId id="2147483746" r:id="rId22"/>
    <p:sldLayoutId id="2147483747" r:id="rId23"/>
    <p:sldLayoutId id="2147483748" r:id="rId24"/>
    <p:sldLayoutId id="2147483711" r:id="rId25"/>
    <p:sldLayoutId id="2147483712" r:id="rId26"/>
    <p:sldLayoutId id="2147483743" r:id="rId27"/>
    <p:sldLayoutId id="2147483741" r:id="rId28"/>
    <p:sldLayoutId id="2147483727" r:id="rId29"/>
    <p:sldLayoutId id="2147483750" r:id="rId30"/>
    <p:sldLayoutId id="2147483749" r:id="rId31"/>
    <p:sldLayoutId id="2147483728" r:id="rId32"/>
    <p:sldLayoutId id="2147483768" r:id="rId33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85750" marR="0" indent="-285750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300"/>
        </a:spcAft>
        <a:buClrTx/>
        <a:buSzTx/>
        <a:buFont typeface="Arial" panose="020B0604020202020204" pitchFamily="34" charset="0"/>
        <a:buChar char="•"/>
        <a:tabLst/>
        <a:defRPr lang="en-US" sz="1800" kern="1200" baseline="0" noProof="0" dirty="0" smtClean="0">
          <a:solidFill>
            <a:schemeClr val="accent1"/>
          </a:solidFill>
          <a:latin typeface="+mj-lt"/>
          <a:ea typeface="+mn-ea"/>
          <a:cs typeface="+mn-cs"/>
        </a:defRPr>
      </a:lvl1pPr>
      <a:lvl2pPr marL="5127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Wingdings" panose="05000000000000000000" pitchFamily="2" charset="2"/>
        <a:buChar char="§"/>
        <a:tabLst/>
        <a:defRPr lang="en-US" sz="1600" kern="1200" noProof="0" dirty="0" smtClean="0">
          <a:solidFill>
            <a:schemeClr val="tx1"/>
          </a:solidFill>
          <a:latin typeface="Montserrat Medium" panose="00000600000000000000" pitchFamily="2" charset="0"/>
          <a:ea typeface="+mn-ea"/>
          <a:cs typeface="+mn-cs"/>
        </a:defRPr>
      </a:lvl2pPr>
      <a:lvl3pPr marL="7413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Courier New" panose="02070309020205020404" pitchFamily="49" charset="0"/>
        <a:buChar char="o"/>
        <a:tabLst/>
        <a:defRPr lang="en-US" sz="1400" kern="1200" noProof="0" dirty="0" smtClean="0">
          <a:solidFill>
            <a:schemeClr val="tx1"/>
          </a:solidFill>
          <a:latin typeface="Montserrat Medium" panose="00000600000000000000" pitchFamily="2" charset="0"/>
          <a:ea typeface="+mn-ea"/>
          <a:cs typeface="+mn-cs"/>
        </a:defRPr>
      </a:lvl3pPr>
      <a:lvl4pPr marL="10334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Arial" panose="020B0604020202020204" pitchFamily="34" charset="0"/>
        <a:buChar char="•"/>
        <a:tabLst/>
        <a:defRPr lang="en-US" sz="1200" kern="1200" baseline="0" noProof="0" dirty="0" smtClean="0">
          <a:solidFill>
            <a:schemeClr val="tx1"/>
          </a:solidFill>
          <a:latin typeface="Montserrat Medium" panose="00000600000000000000" pitchFamily="2" charset="0"/>
          <a:ea typeface="+mn-ea"/>
          <a:cs typeface="+mn-cs"/>
        </a:defRPr>
      </a:lvl4pPr>
      <a:lvl5pPr marL="1316038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Montserrat" panose="00000500000000000000" pitchFamily="2" charset="0"/>
        <a:buChar char="–"/>
        <a:tabLst/>
        <a:defRPr lang="en-US" sz="1500" kern="1200" noProof="0" dirty="0">
          <a:solidFill>
            <a:schemeClr val="accent2"/>
          </a:solidFill>
          <a:latin typeface="Montserrat Medium" panose="00000600000000000000" pitchFamily="2" charset="0"/>
          <a:ea typeface="+mn-ea"/>
          <a:cs typeface="+mn-cs"/>
        </a:defRPr>
      </a:lvl5pPr>
      <a:lvl6pPr marL="1490663" marR="0" indent="-173038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egis.ga.gov/search?s=1033&amp;p=2&amp;rc=2860" TargetMode="External"/><Relationship Id="rId13" Type="http://schemas.openxmlformats.org/officeDocument/2006/relationships/image" Target="../media/image35.png"/><Relationship Id="rId3" Type="http://schemas.openxmlformats.org/officeDocument/2006/relationships/image" Target="../media/image30.svg"/><Relationship Id="rId7" Type="http://schemas.openxmlformats.org/officeDocument/2006/relationships/hyperlink" Target="https://leginfo.legislature.ca.gov/faces/advance/advance.xhtml" TargetMode="External"/><Relationship Id="rId12" Type="http://schemas.openxmlformats.org/officeDocument/2006/relationships/image" Target="../media/image34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6.xml"/><Relationship Id="rId6" Type="http://schemas.openxmlformats.org/officeDocument/2006/relationships/hyperlink" Target="https://www.akleg.gov/basis/Home/BillsandLaws" TargetMode="External"/><Relationship Id="rId11" Type="http://schemas.openxmlformats.org/officeDocument/2006/relationships/image" Target="../media/image33.png"/><Relationship Id="rId5" Type="http://schemas.openxmlformats.org/officeDocument/2006/relationships/hyperlink" Target="https://leg.colorado.gov/bill-search?field_sessions=104236&amp;sort_bef_combine=search_api_relevance%20DESC&amp;field_chamber=All&amp;field_bill_type=All" TargetMode="External"/><Relationship Id="rId10" Type="http://schemas.openxmlformats.org/officeDocument/2006/relationships/image" Target="../media/image32.png"/><Relationship Id="rId4" Type="http://schemas.openxmlformats.org/officeDocument/2006/relationships/image" Target="../media/image31.png"/><Relationship Id="rId9" Type="http://schemas.openxmlformats.org/officeDocument/2006/relationships/hyperlink" Target="https://www.kslegislature.gov/li/b2025_26/measures/bills/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3.png"/><Relationship Id="rId3" Type="http://schemas.openxmlformats.org/officeDocument/2006/relationships/image" Target="../media/image37.png"/><Relationship Id="rId7" Type="http://schemas.openxmlformats.org/officeDocument/2006/relationships/image" Target="../media/image39.png"/><Relationship Id="rId12" Type="http://schemas.openxmlformats.org/officeDocument/2006/relationships/image" Target="../media/image42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0.svg"/><Relationship Id="rId11" Type="http://schemas.openxmlformats.org/officeDocument/2006/relationships/image" Target="../media/image41.png"/><Relationship Id="rId5" Type="http://schemas.openxmlformats.org/officeDocument/2006/relationships/image" Target="../media/image29.png"/><Relationship Id="rId10" Type="http://schemas.openxmlformats.org/officeDocument/2006/relationships/image" Target="../media/image34.svg"/><Relationship Id="rId4" Type="http://schemas.openxmlformats.org/officeDocument/2006/relationships/image" Target="../media/image38.png"/><Relationship Id="rId9" Type="http://schemas.openxmlformats.org/officeDocument/2006/relationships/image" Target="../media/image33.png"/><Relationship Id="rId14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Relationship Id="rId4" Type="http://schemas.openxmlformats.org/officeDocument/2006/relationships/chart" Target="../charts/char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sv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48.svg"/><Relationship Id="rId11" Type="http://schemas.openxmlformats.org/officeDocument/2006/relationships/image" Target="../media/image53.svg"/><Relationship Id="rId5" Type="http://schemas.openxmlformats.org/officeDocument/2006/relationships/image" Target="../media/image47.png"/><Relationship Id="rId15" Type="http://schemas.openxmlformats.org/officeDocument/2006/relationships/image" Target="../media/image57.svg"/><Relationship Id="rId10" Type="http://schemas.openxmlformats.org/officeDocument/2006/relationships/image" Target="../media/image52.png"/><Relationship Id="rId4" Type="http://schemas.openxmlformats.org/officeDocument/2006/relationships/image" Target="../media/image46.svg"/><Relationship Id="rId9" Type="http://schemas.openxmlformats.org/officeDocument/2006/relationships/image" Target="../media/image51.png"/><Relationship Id="rId14" Type="http://schemas.openxmlformats.org/officeDocument/2006/relationships/image" Target="../media/image5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Relationship Id="rId4" Type="http://schemas.openxmlformats.org/officeDocument/2006/relationships/chart" Target="../charts/char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6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565D1DF3_CB3F907E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3.png"/><Relationship Id="rId3" Type="http://schemas.openxmlformats.org/officeDocument/2006/relationships/image" Target="../media/image37.png"/><Relationship Id="rId7" Type="http://schemas.openxmlformats.org/officeDocument/2006/relationships/image" Target="../media/image39.png"/><Relationship Id="rId12" Type="http://schemas.openxmlformats.org/officeDocument/2006/relationships/image" Target="../media/image42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0.svg"/><Relationship Id="rId11" Type="http://schemas.openxmlformats.org/officeDocument/2006/relationships/image" Target="../media/image41.png"/><Relationship Id="rId5" Type="http://schemas.openxmlformats.org/officeDocument/2006/relationships/image" Target="../media/image29.png"/><Relationship Id="rId10" Type="http://schemas.openxmlformats.org/officeDocument/2006/relationships/image" Target="../media/image34.svg"/><Relationship Id="rId4" Type="http://schemas.openxmlformats.org/officeDocument/2006/relationships/image" Target="../media/image38.png"/><Relationship Id="rId9" Type="http://schemas.openxmlformats.org/officeDocument/2006/relationships/image" Target="../media/image33.png"/><Relationship Id="rId14" Type="http://schemas.openxmlformats.org/officeDocument/2006/relationships/image" Target="../media/image44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chart" Target="../charts/chart5.xml"/><Relationship Id="rId7" Type="http://schemas.openxmlformats.org/officeDocument/2006/relationships/chart" Target="../charts/chart9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.xml"/><Relationship Id="rId4" Type="http://schemas.openxmlformats.org/officeDocument/2006/relationships/chart" Target="../charts/chart1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3C_37747397.xml"/><Relationship Id="rId7" Type="http://schemas.openxmlformats.org/officeDocument/2006/relationships/chart" Target="../charts/chart17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7" Type="http://schemas.openxmlformats.org/officeDocument/2006/relationships/image" Target="../media/image6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3.png"/><Relationship Id="rId5" Type="http://schemas.openxmlformats.org/officeDocument/2006/relationships/image" Target="../media/image34.svg"/><Relationship Id="rId4" Type="http://schemas.openxmlformats.org/officeDocument/2006/relationships/image" Target="../media/image33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svg"/><Relationship Id="rId13" Type="http://schemas.openxmlformats.org/officeDocument/2006/relationships/chart" Target="../charts/chart20.xml"/><Relationship Id="rId3" Type="http://schemas.openxmlformats.org/officeDocument/2006/relationships/image" Target="../media/image66.svg"/><Relationship Id="rId7" Type="http://schemas.openxmlformats.org/officeDocument/2006/relationships/image" Target="../media/image70.png"/><Relationship Id="rId12" Type="http://schemas.openxmlformats.org/officeDocument/2006/relationships/image" Target="../media/image75.sv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9.png"/><Relationship Id="rId11" Type="http://schemas.openxmlformats.org/officeDocument/2006/relationships/image" Target="../media/image74.png"/><Relationship Id="rId5" Type="http://schemas.openxmlformats.org/officeDocument/2006/relationships/image" Target="../media/image68.svg"/><Relationship Id="rId15" Type="http://schemas.openxmlformats.org/officeDocument/2006/relationships/chart" Target="../charts/chart22.xml"/><Relationship Id="rId10" Type="http://schemas.openxmlformats.org/officeDocument/2006/relationships/image" Target="../media/image73.png"/><Relationship Id="rId4" Type="http://schemas.openxmlformats.org/officeDocument/2006/relationships/image" Target="../media/image67.png"/><Relationship Id="rId9" Type="http://schemas.openxmlformats.org/officeDocument/2006/relationships/image" Target="../media/image72.png"/><Relationship Id="rId14" Type="http://schemas.openxmlformats.org/officeDocument/2006/relationships/chart" Target="../charts/chart21.xml"/></Relationships>
</file>

<file path=ppt/slides/_rels/slide35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565D1DE6_CB4E1797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7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102_5CF96A71.xml"/><Relationship Id="rId1" Type="http://schemas.openxmlformats.org/officeDocument/2006/relationships/slideLayout" Target="../slideLayouts/slideLayout26.xml"/></Relationships>
</file>

<file path=ppt/slides/_rels/slide38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565D1DE4_FF48E54F.xml"/><Relationship Id="rId1" Type="http://schemas.openxmlformats.org/officeDocument/2006/relationships/slideLayout" Target="../slideLayouts/slideLayout2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565D1DD6_EB0D744D.xml"/><Relationship Id="rId1" Type="http://schemas.openxmlformats.org/officeDocument/2006/relationships/slideLayout" Target="../slideLayouts/slideLayout26.xml"/></Relationships>
</file>

<file path=ppt/slides/_rels/slide40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101_8129E5FA.xml"/><Relationship Id="rId1" Type="http://schemas.openxmlformats.org/officeDocument/2006/relationships/slideLayout" Target="../slideLayouts/slideLayout2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80.png"/><Relationship Id="rId7" Type="http://schemas.openxmlformats.org/officeDocument/2006/relationships/image" Target="../media/image84.svg"/><Relationship Id="rId2" Type="http://schemas.microsoft.com/office/2018/10/relationships/comments" Target="../comments/modernComment_565D1DDF_2D01562E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svg"/><Relationship Id="rId9" Type="http://schemas.openxmlformats.org/officeDocument/2006/relationships/image" Target="../media/image86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6B16D16-4D28-84B4-D53B-84E16FC0FB9C}"/>
              </a:ext>
            </a:extLst>
          </p:cNvPr>
          <p:cNvSpPr txBox="1"/>
          <p:nvPr/>
        </p:nvSpPr>
        <p:spPr>
          <a:xfrm>
            <a:off x="359137" y="2987944"/>
            <a:ext cx="6928903" cy="69221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3200" dirty="0">
                <a:solidFill>
                  <a:schemeClr val="accent1"/>
                </a:solidFill>
                <a:latin typeface="Montserrat" panose="00000500000000000000" pitchFamily="2" charset="0"/>
              </a:rPr>
              <a:t>Final Internship Checkpoin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9C417DA-4EF6-EA0A-5CFE-A3C9D368D2BB}"/>
              </a:ext>
            </a:extLst>
          </p:cNvPr>
          <p:cNvSpPr txBox="1"/>
          <p:nvPr/>
        </p:nvSpPr>
        <p:spPr>
          <a:xfrm>
            <a:off x="359137" y="3503616"/>
            <a:ext cx="6121176" cy="35308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600">
                <a:solidFill>
                  <a:schemeClr val="accent3"/>
                </a:solidFill>
                <a:latin typeface="Montserrat" panose="00000500000000000000" pitchFamily="2" charset="0"/>
              </a:rPr>
              <a:t>Opportunity Intelligence – Advanced Analytics Team 202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61982FE-7B4D-580E-E07C-B599F7196605}"/>
              </a:ext>
            </a:extLst>
          </p:cNvPr>
          <p:cNvSpPr txBox="1"/>
          <p:nvPr/>
        </p:nvSpPr>
        <p:spPr>
          <a:xfrm>
            <a:off x="359137" y="3931001"/>
            <a:ext cx="4146487" cy="35308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400">
                <a:solidFill>
                  <a:schemeClr val="accent2"/>
                </a:solidFill>
                <a:latin typeface="Montserrat" panose="00000500000000000000" pitchFamily="2" charset="0"/>
              </a:rPr>
              <a:t>Janardhan Kuruva</a:t>
            </a:r>
          </a:p>
        </p:txBody>
      </p:sp>
    </p:spTree>
    <p:extLst>
      <p:ext uri="{BB962C8B-B14F-4D97-AF65-F5344CB8AC3E}">
        <p14:creationId xmlns:p14="http://schemas.microsoft.com/office/powerpoint/2010/main" val="41724180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49FF2A-CAF9-28B0-4B44-44B66285C7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92B912D-35F2-53AB-5CAB-6F6E5C88B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71993" y="6583680"/>
            <a:ext cx="388178" cy="240647"/>
          </a:xfrm>
        </p:spPr>
        <p:txBody>
          <a:bodyPr/>
          <a:lstStyle/>
          <a:p>
            <a:fld id="{8BC64C03-9EC0-4B7E-8FE4-24DBF62E63E5}" type="slidenum">
              <a:rPr lang="en-US" smtClean="0"/>
              <a:t>10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81D9BBC-13A4-C9A0-BFC7-E9BAECBAD9D6}"/>
              </a:ext>
            </a:extLst>
          </p:cNvPr>
          <p:cNvSpPr txBox="1"/>
          <p:nvPr/>
        </p:nvSpPr>
        <p:spPr>
          <a:xfrm>
            <a:off x="0" y="100188"/>
            <a:ext cx="4628442" cy="56973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defTabSz="685800">
              <a:lnSpc>
                <a:spcPct val="90000"/>
              </a:lnSpc>
              <a:spcBef>
                <a:spcPct val="0"/>
              </a:spcBef>
            </a:pPr>
            <a:r>
              <a:rPr lang="en-US" sz="24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Web crawling workflow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8A95A18-5088-EA3F-7EFC-216635FD5846}"/>
              </a:ext>
            </a:extLst>
          </p:cNvPr>
          <p:cNvGrpSpPr/>
          <p:nvPr/>
        </p:nvGrpSpPr>
        <p:grpSpPr>
          <a:xfrm>
            <a:off x="496247" y="2331223"/>
            <a:ext cx="974402" cy="1025666"/>
            <a:chOff x="622173" y="2606265"/>
            <a:chExt cx="987552" cy="987552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76690A63-9308-E1C4-5F60-37CEB95EDD33}"/>
                </a:ext>
              </a:extLst>
            </p:cNvPr>
            <p:cNvSpPr/>
            <p:nvPr/>
          </p:nvSpPr>
          <p:spPr>
            <a:xfrm>
              <a:off x="622173" y="2606265"/>
              <a:ext cx="987552" cy="987552"/>
            </a:xfrm>
            <a:prstGeom prst="ellipse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Graphic 5" descr="Internet outline">
              <a:extLst>
                <a:ext uri="{FF2B5EF4-FFF2-40B4-BE49-F238E27FC236}">
                  <a16:creationId xmlns:a16="http://schemas.microsoft.com/office/drawing/2014/main" id="{CC7D4123-B3DF-7487-81A2-607057FB885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03547" y="2690407"/>
              <a:ext cx="812624" cy="812624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EED4406-A112-704E-F1FD-BAC4592C5A21}"/>
              </a:ext>
            </a:extLst>
          </p:cNvPr>
          <p:cNvGrpSpPr/>
          <p:nvPr/>
        </p:nvGrpSpPr>
        <p:grpSpPr>
          <a:xfrm>
            <a:off x="3316537" y="2327901"/>
            <a:ext cx="974402" cy="1025666"/>
            <a:chOff x="3284429" y="2441448"/>
            <a:chExt cx="987552" cy="987552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55D2E2C-EB0F-FEFC-E887-A3C082BF9C39}"/>
                </a:ext>
              </a:extLst>
            </p:cNvPr>
            <p:cNvSpPr/>
            <p:nvPr/>
          </p:nvSpPr>
          <p:spPr>
            <a:xfrm>
              <a:off x="3284429" y="2441448"/>
              <a:ext cx="987552" cy="987552"/>
            </a:xfrm>
            <a:prstGeom prst="ellipse">
              <a:avLst/>
            </a:prstGeom>
            <a:noFill/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Picture 4">
              <a:extLst>
                <a:ext uri="{FF2B5EF4-FFF2-40B4-BE49-F238E27FC236}">
                  <a16:creationId xmlns:a16="http://schemas.microsoft.com/office/drawing/2014/main" id="{568E8625-5E51-036B-2B56-D8E578E2DE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18065" y="2589906"/>
              <a:ext cx="720280" cy="7202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7334BFBE-FFE0-C4AF-EEDF-945899F48534}"/>
              </a:ext>
            </a:extLst>
          </p:cNvPr>
          <p:cNvSpPr txBox="1"/>
          <p:nvPr/>
        </p:nvSpPr>
        <p:spPr>
          <a:xfrm>
            <a:off x="0" y="3450737"/>
            <a:ext cx="1941662" cy="229339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000"/>
              <a:t>Web link: </a:t>
            </a:r>
          </a:p>
          <a:p>
            <a:pPr algn="ctr"/>
            <a:endParaRPr lang="en-US" sz="1000"/>
          </a:p>
          <a:p>
            <a:pPr algn="ctr"/>
            <a:endParaRPr lang="en-US" sz="1000"/>
          </a:p>
          <a:p>
            <a:pPr algn="ctr"/>
            <a:r>
              <a:rPr lang="en-US" altLang="en-US" sz="1000">
                <a:latin typeface="Arial" panose="020B0604020202020204" pitchFamily="34" charset="0"/>
                <a:hlinkClick r:id="rId5"/>
              </a:rPr>
              <a:t>Colorado General Assembly</a:t>
            </a:r>
            <a:br>
              <a:rPr lang="en-US" altLang="en-US" sz="1000">
                <a:latin typeface="Arial" panose="020B0604020202020204" pitchFamily="34" charset="0"/>
              </a:rPr>
            </a:br>
            <a:r>
              <a:rPr lang="en-US" altLang="en-US" sz="1000">
                <a:latin typeface="Arial" panose="020B0604020202020204" pitchFamily="34" charset="0"/>
              </a:rPr>
              <a:t> </a:t>
            </a:r>
          </a:p>
          <a:p>
            <a:pPr algn="ctr"/>
            <a:r>
              <a:rPr lang="en-US" altLang="en-US" sz="1000">
                <a:latin typeface="Arial" panose="020B0604020202020204" pitchFamily="34" charset="0"/>
                <a:hlinkClick r:id="rId6"/>
              </a:rPr>
              <a:t>Alaska State Legislature</a:t>
            </a:r>
            <a:r>
              <a:rPr lang="en-US" altLang="en-US" sz="1000">
                <a:latin typeface="Arial" panose="020B0604020202020204" pitchFamily="34" charset="0"/>
              </a:rPr>
              <a:t> </a:t>
            </a:r>
            <a:br>
              <a:rPr lang="en-US" altLang="en-US" sz="1000">
                <a:latin typeface="Arial" panose="020B0604020202020204" pitchFamily="34" charset="0"/>
              </a:rPr>
            </a:br>
            <a:br>
              <a:rPr lang="en-US" altLang="en-US" sz="1000">
                <a:latin typeface="Arial" panose="020B0604020202020204" pitchFamily="34" charset="0"/>
              </a:rPr>
            </a:br>
            <a:r>
              <a:rPr lang="en-US" altLang="en-US" sz="1000">
                <a:latin typeface="Arial" panose="020B0604020202020204" pitchFamily="34" charset="0"/>
                <a:hlinkClick r:id="rId7"/>
              </a:rPr>
              <a:t>California State Legislature</a:t>
            </a:r>
            <a:r>
              <a:rPr lang="en-US" altLang="en-US" sz="1000">
                <a:latin typeface="Arial" panose="020B0604020202020204" pitchFamily="34" charset="0"/>
              </a:rPr>
              <a:t> </a:t>
            </a:r>
          </a:p>
          <a:p>
            <a:pPr algn="ctr"/>
            <a:endParaRPr lang="en-US" altLang="en-US" sz="1000">
              <a:latin typeface="Arial" panose="020B0604020202020204" pitchFamily="34" charset="0"/>
            </a:endParaRPr>
          </a:p>
          <a:p>
            <a:pPr algn="ctr"/>
            <a:r>
              <a:rPr lang="en-US" altLang="en-US" sz="1000">
                <a:latin typeface="Arial" panose="020B0604020202020204" pitchFamily="34" charset="0"/>
                <a:hlinkClick r:id="rId8"/>
              </a:rPr>
              <a:t>Georgia General Assembly</a:t>
            </a:r>
            <a:endParaRPr lang="en-US" altLang="en-US" sz="1000">
              <a:latin typeface="Arial" panose="020B0604020202020204" pitchFamily="34" charset="0"/>
            </a:endParaRPr>
          </a:p>
          <a:p>
            <a:pPr algn="ctr"/>
            <a:endParaRPr lang="en-US" altLang="en-US" sz="1000">
              <a:latin typeface="Arial" panose="020B0604020202020204" pitchFamily="34" charset="0"/>
            </a:endParaRPr>
          </a:p>
          <a:p>
            <a:pPr algn="ctr"/>
            <a:r>
              <a:rPr lang="en-US" altLang="en-US" sz="1000">
                <a:latin typeface="Arial" panose="020B0604020202020204" pitchFamily="34" charset="0"/>
              </a:rPr>
              <a:t> </a:t>
            </a:r>
            <a:r>
              <a:rPr lang="en-US" altLang="en-US" sz="1000">
                <a:latin typeface="Arial" panose="020B0604020202020204" pitchFamily="34" charset="0"/>
                <a:hlinkClick r:id="rId9"/>
              </a:rPr>
              <a:t>Kansas Legislature</a:t>
            </a:r>
            <a:endParaRPr lang="en-US" altLang="en-US" sz="1000">
              <a:latin typeface="Arial" panose="020B0604020202020204" pitchFamily="34" charset="0"/>
            </a:endParaRPr>
          </a:p>
          <a:p>
            <a:pPr algn="ctr"/>
            <a:endParaRPr lang="en-US" altLang="en-US" sz="1000">
              <a:latin typeface="Arial" panose="020B0604020202020204" pitchFamily="34" charset="0"/>
            </a:endParaRPr>
          </a:p>
          <a:p>
            <a:pPr algn="ctr"/>
            <a:endParaRPr lang="en-US" altLang="en-US" sz="1000">
              <a:latin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C0286B0-0785-B67D-CF50-A2F3BBE610AE}"/>
              </a:ext>
            </a:extLst>
          </p:cNvPr>
          <p:cNvSpPr txBox="1"/>
          <p:nvPr/>
        </p:nvSpPr>
        <p:spPr>
          <a:xfrm>
            <a:off x="2913050" y="1491666"/>
            <a:ext cx="1850411" cy="73815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100">
                <a:latin typeface="+mj-lt"/>
              </a:rPr>
              <a:t>Decide the optimum approach to scrape data from the websit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8FBA219-2A49-DA0E-E8AC-EAE44D55C66F}"/>
              </a:ext>
            </a:extLst>
          </p:cNvPr>
          <p:cNvSpPr txBox="1"/>
          <p:nvPr/>
        </p:nvSpPr>
        <p:spPr>
          <a:xfrm>
            <a:off x="2816233" y="3450736"/>
            <a:ext cx="2232646" cy="8016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Direct JSON/CSV downloa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HTML pars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Selenium Autom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Other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EC55282-5225-38A7-67E6-779B16BA3FB6}"/>
              </a:ext>
            </a:extLst>
          </p:cNvPr>
          <p:cNvSpPr txBox="1"/>
          <p:nvPr/>
        </p:nvSpPr>
        <p:spPr>
          <a:xfrm>
            <a:off x="117439" y="1499429"/>
            <a:ext cx="1709909" cy="6260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100">
                <a:latin typeface="+mj-lt"/>
              </a:rPr>
              <a:t>Visit and understand the website structure for a stat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F9B9F82-B04B-D41D-5333-A61233712B5D}"/>
              </a:ext>
            </a:extLst>
          </p:cNvPr>
          <p:cNvGrpSpPr/>
          <p:nvPr/>
        </p:nvGrpSpPr>
        <p:grpSpPr>
          <a:xfrm>
            <a:off x="6174617" y="2342723"/>
            <a:ext cx="974402" cy="1025666"/>
            <a:chOff x="6476998" y="2425290"/>
            <a:chExt cx="987552" cy="987552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084E8C2-F73A-6543-8C4A-6A0E89EBABA5}"/>
                </a:ext>
              </a:extLst>
            </p:cNvPr>
            <p:cNvSpPr/>
            <p:nvPr/>
          </p:nvSpPr>
          <p:spPr>
            <a:xfrm>
              <a:off x="6476998" y="2425290"/>
              <a:ext cx="987552" cy="987552"/>
            </a:xfrm>
            <a:prstGeom prst="ellipse">
              <a:avLst/>
            </a:prstGeom>
            <a:noFill/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" name="Picture 2">
              <a:extLst>
                <a:ext uri="{FF2B5EF4-FFF2-40B4-BE49-F238E27FC236}">
                  <a16:creationId xmlns:a16="http://schemas.microsoft.com/office/drawing/2014/main" id="{78CF3322-089E-261E-6A00-96280574BE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8408" y="2631631"/>
              <a:ext cx="639475" cy="639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68355DB-78D1-FD58-EE26-3025A2585A73}"/>
              </a:ext>
            </a:extLst>
          </p:cNvPr>
          <p:cNvCxnSpPr>
            <a:cxnSpLocks/>
            <a:stCxn id="9" idx="6"/>
            <a:endCxn id="19" idx="2"/>
          </p:cNvCxnSpPr>
          <p:nvPr/>
        </p:nvCxnSpPr>
        <p:spPr>
          <a:xfrm>
            <a:off x="4290939" y="2840734"/>
            <a:ext cx="1883678" cy="148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07707D77-FA8D-EB1A-AAB0-47FA5988CD3A}"/>
              </a:ext>
            </a:extLst>
          </p:cNvPr>
          <p:cNvSpPr txBox="1"/>
          <p:nvPr/>
        </p:nvSpPr>
        <p:spPr>
          <a:xfrm>
            <a:off x="5851059" y="1493174"/>
            <a:ext cx="1709909" cy="73815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100">
                <a:latin typeface="+mj-lt"/>
              </a:rPr>
              <a:t>Fetch the relevant datapoints of laws based on keywords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AECBBDC-0C09-D2E5-FB63-C12C37397113}"/>
              </a:ext>
            </a:extLst>
          </p:cNvPr>
          <p:cNvSpPr txBox="1"/>
          <p:nvPr/>
        </p:nvSpPr>
        <p:spPr>
          <a:xfrm>
            <a:off x="5459077" y="3482105"/>
            <a:ext cx="2232646" cy="3016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000" dirty="0">
                <a:solidFill>
                  <a:schemeClr val="tx1"/>
                </a:solidFill>
              </a:rPr>
              <a:t>Artificial intelligenc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000" dirty="0">
                <a:solidFill>
                  <a:schemeClr val="tx1"/>
                </a:solidFill>
              </a:rPr>
              <a:t>Automated decision making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000" dirty="0">
                <a:solidFill>
                  <a:schemeClr val="tx1"/>
                </a:solidFill>
              </a:rPr>
              <a:t>Automate decision support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000" dirty="0">
                <a:solidFill>
                  <a:schemeClr val="tx1"/>
                </a:solidFill>
              </a:rPr>
              <a:t>Clean claim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000" dirty="0">
                <a:solidFill>
                  <a:schemeClr val="tx1"/>
                </a:solidFill>
              </a:rPr>
              <a:t>Clinical decision support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000" dirty="0">
                <a:solidFill>
                  <a:schemeClr val="tx1"/>
                </a:solidFill>
              </a:rPr>
              <a:t>Coordination of benefit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000" dirty="0">
                <a:solidFill>
                  <a:schemeClr val="tx1"/>
                </a:solidFill>
              </a:rPr>
              <a:t>Health carriers and payment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000" dirty="0">
                <a:solidFill>
                  <a:schemeClr val="tx1"/>
                </a:solidFill>
              </a:rPr>
              <a:t>Medical necessity review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000" dirty="0">
                <a:solidFill>
                  <a:schemeClr val="tx1"/>
                </a:solidFill>
              </a:rPr>
              <a:t>Payment and health carrier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000" dirty="0">
                <a:solidFill>
                  <a:schemeClr val="tx1"/>
                </a:solidFill>
              </a:rPr>
              <a:t>Preauthorization 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000" dirty="0">
                <a:solidFill>
                  <a:schemeClr val="tx1"/>
                </a:solidFill>
              </a:rPr>
              <a:t>Prior authorization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000" dirty="0">
                <a:solidFill>
                  <a:schemeClr val="tx1"/>
                </a:solidFill>
              </a:rPr>
              <a:t>Prompt pay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000" dirty="0">
                <a:solidFill>
                  <a:schemeClr val="tx1"/>
                </a:solidFill>
              </a:rPr>
              <a:t>Prompt payment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000" dirty="0">
                <a:solidFill>
                  <a:schemeClr val="tx1"/>
                </a:solidFill>
              </a:rPr>
              <a:t>Utilization review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000" dirty="0">
                <a:solidFill>
                  <a:schemeClr val="tx1"/>
                </a:solidFill>
              </a:rPr>
              <a:t>Utilization management</a:t>
            </a:r>
            <a:r>
              <a:rPr lang="en-US" altLang="en-US" sz="1000" dirty="0"/>
              <a:t> 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Look-back perio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Claim edit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Fraud, waste, and abus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000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0B9423C-DDC0-D04E-367D-029BB598B3E2}"/>
              </a:ext>
            </a:extLst>
          </p:cNvPr>
          <p:cNvGrpSpPr/>
          <p:nvPr/>
        </p:nvGrpSpPr>
        <p:grpSpPr>
          <a:xfrm>
            <a:off x="9258625" y="2327901"/>
            <a:ext cx="974402" cy="1025666"/>
            <a:chOff x="8500864" y="2421968"/>
            <a:chExt cx="987552" cy="987552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6895AFB1-D250-7154-280A-442831D5B1B8}"/>
                </a:ext>
              </a:extLst>
            </p:cNvPr>
            <p:cNvSpPr/>
            <p:nvPr/>
          </p:nvSpPr>
          <p:spPr>
            <a:xfrm>
              <a:off x="8500864" y="2421968"/>
              <a:ext cx="987552" cy="987552"/>
            </a:xfrm>
            <a:prstGeom prst="ellipse">
              <a:avLst/>
            </a:prstGeom>
            <a:noFill/>
            <a:ln w="381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0" name="Graphic 29" descr="Database with solid fill">
              <a:extLst>
                <a:ext uri="{FF2B5EF4-FFF2-40B4-BE49-F238E27FC236}">
                  <a16:creationId xmlns:a16="http://schemas.microsoft.com/office/drawing/2014/main" id="{1F0F8AB5-2D82-0DB8-491C-C6115E4116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616356" y="2537460"/>
              <a:ext cx="756568" cy="756568"/>
            </a:xfrm>
            <a:prstGeom prst="rect">
              <a:avLst/>
            </a:prstGeom>
          </p:spPr>
        </p:pic>
      </p:grp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9C4A2FF2-8422-D9A9-2DD2-526DAD92DFCD}"/>
              </a:ext>
            </a:extLst>
          </p:cNvPr>
          <p:cNvCxnSpPr>
            <a:cxnSpLocks/>
            <a:stCxn id="19" idx="6"/>
            <a:endCxn id="29" idx="2"/>
          </p:cNvCxnSpPr>
          <p:nvPr/>
        </p:nvCxnSpPr>
        <p:spPr>
          <a:xfrm flipV="1">
            <a:off x="7149019" y="2840734"/>
            <a:ext cx="2109606" cy="148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1F1C97DA-9C4A-3C8E-F165-F02B34DE2FCF}"/>
              </a:ext>
            </a:extLst>
          </p:cNvPr>
          <p:cNvSpPr txBox="1"/>
          <p:nvPr/>
        </p:nvSpPr>
        <p:spPr>
          <a:xfrm>
            <a:off x="8885908" y="1404720"/>
            <a:ext cx="1709909" cy="73815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100" dirty="0">
                <a:latin typeface="+mj-lt"/>
              </a:rPr>
              <a:t>Validates and Store the datapoints in a structured format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5DCC6B7F-EC15-8AE0-B57C-5B2C5E275C4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284187" y="3479699"/>
            <a:ext cx="3410508" cy="2580151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867FF2B-F26F-4CC5-19A8-6C05E5AF7FFA}"/>
              </a:ext>
            </a:extLst>
          </p:cNvPr>
          <p:cNvCxnSpPr>
            <a:cxnSpLocks/>
            <a:stCxn id="4" idx="6"/>
            <a:endCxn id="9" idx="2"/>
          </p:cNvCxnSpPr>
          <p:nvPr/>
        </p:nvCxnSpPr>
        <p:spPr>
          <a:xfrm flipV="1">
            <a:off x="1470649" y="2840734"/>
            <a:ext cx="1845888" cy="33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82405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2AF729-2ABA-712A-7246-006BF846F7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693C6FD-8B17-3681-4A8B-ACCB40B17D19}"/>
              </a:ext>
            </a:extLst>
          </p:cNvPr>
          <p:cNvSpPr/>
          <p:nvPr/>
        </p:nvSpPr>
        <p:spPr>
          <a:xfrm>
            <a:off x="2850687" y="1550444"/>
            <a:ext cx="5276088" cy="1666632"/>
          </a:xfrm>
          <a:prstGeom prst="roundRect">
            <a:avLst>
              <a:gd name="adj" fmla="val 10785"/>
            </a:avLst>
          </a:prstGeom>
          <a:solidFill>
            <a:schemeClr val="bg1"/>
          </a:solidFill>
          <a:ln>
            <a:solidFill>
              <a:schemeClr val="accent6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4BF6A85-94ED-0128-F0A4-A0354C20FC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36E7408-DFDD-AB4B-3EAC-F1C640D4D7CA}"/>
              </a:ext>
            </a:extLst>
          </p:cNvPr>
          <p:cNvSpPr txBox="1"/>
          <p:nvPr/>
        </p:nvSpPr>
        <p:spPr>
          <a:xfrm>
            <a:off x="0" y="100188"/>
            <a:ext cx="10643616" cy="56973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noAutofit/>
          </a:bodyPr>
          <a:lstStyle/>
          <a:p>
            <a:pPr defTabSz="685800">
              <a:lnSpc>
                <a:spcPct val="90000"/>
              </a:lnSpc>
              <a:spcBef>
                <a:spcPct val="0"/>
              </a:spcBef>
            </a:pPr>
            <a:r>
              <a:rPr lang="en-US" sz="24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Streamlined Automated Production Pipeline</a:t>
            </a:r>
            <a:endParaRPr lang="en-US" i="1" dirty="0"/>
          </a:p>
          <a:p>
            <a:pPr defTabSz="685800">
              <a:lnSpc>
                <a:spcPct val="90000"/>
              </a:lnSpc>
              <a:spcBef>
                <a:spcPct val="0"/>
              </a:spcBef>
            </a:pPr>
            <a:endParaRPr lang="en-US" dirty="0">
              <a:ea typeface="+mj-ea"/>
              <a:cs typeface="+mj-cs"/>
            </a:endParaRPr>
          </a:p>
        </p:txBody>
      </p:sp>
      <p:pic>
        <p:nvPicPr>
          <p:cNvPr id="5" name="Picture 4" descr="Openshift logo - Social media &amp; Logos Icons">
            <a:extLst>
              <a:ext uri="{FF2B5EF4-FFF2-40B4-BE49-F238E27FC236}">
                <a16:creationId xmlns:a16="http://schemas.microsoft.com/office/drawing/2014/main" id="{46B995D0-3C17-75C8-C0AE-263A4BB311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7889" y="5177339"/>
            <a:ext cx="2000739" cy="1000370"/>
          </a:xfrm>
          <a:prstGeom prst="rect">
            <a:avLst/>
          </a:prstGeom>
        </p:spPr>
      </p:pic>
      <p:pic>
        <p:nvPicPr>
          <p:cNvPr id="7" name="Picture 6" descr="Docker Logo and symbol, meaning, history, PNG, brand">
            <a:extLst>
              <a:ext uri="{FF2B5EF4-FFF2-40B4-BE49-F238E27FC236}">
                <a16:creationId xmlns:a16="http://schemas.microsoft.com/office/drawing/2014/main" id="{A1CF7942-9ABE-252C-F12B-4FDE213A0B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13268" y="5215473"/>
            <a:ext cx="1822450" cy="914103"/>
          </a:xfrm>
          <a:prstGeom prst="rect">
            <a:avLst/>
          </a:prstGeom>
        </p:spPr>
      </p:pic>
      <p:pic>
        <p:nvPicPr>
          <p:cNvPr id="8" name="Picture 7" descr="How to Schedule a Python Application in Docker Container using Cronjob">
            <a:extLst>
              <a:ext uri="{FF2B5EF4-FFF2-40B4-BE49-F238E27FC236}">
                <a16:creationId xmlns:a16="http://schemas.microsoft.com/office/drawing/2014/main" id="{2BA331A4-E29C-CACF-6EDF-54308F04CB7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7230" r="254" b="1532"/>
          <a:stretch>
            <a:fillRect/>
          </a:stretch>
        </p:blipFill>
        <p:spPr>
          <a:xfrm>
            <a:off x="7927583" y="5023352"/>
            <a:ext cx="2464084" cy="1117231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E0AD9286-3417-170D-1D87-FC421DD05811}"/>
              </a:ext>
            </a:extLst>
          </p:cNvPr>
          <p:cNvGrpSpPr/>
          <p:nvPr/>
        </p:nvGrpSpPr>
        <p:grpSpPr>
          <a:xfrm>
            <a:off x="3167705" y="2200091"/>
            <a:ext cx="685800" cy="685800"/>
            <a:chOff x="622173" y="2606265"/>
            <a:chExt cx="987552" cy="987552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BC124324-6F29-3E13-1DB8-606D5536AD9E}"/>
                </a:ext>
              </a:extLst>
            </p:cNvPr>
            <p:cNvSpPr/>
            <p:nvPr/>
          </p:nvSpPr>
          <p:spPr>
            <a:xfrm>
              <a:off x="622173" y="2606265"/>
              <a:ext cx="987552" cy="987552"/>
            </a:xfrm>
            <a:prstGeom prst="ellipse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Graphic 8" descr="Internet outline">
              <a:extLst>
                <a:ext uri="{FF2B5EF4-FFF2-40B4-BE49-F238E27FC236}">
                  <a16:creationId xmlns:a16="http://schemas.microsoft.com/office/drawing/2014/main" id="{A8E7DA91-73B6-A5F0-DD45-35D0617A1A9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03547" y="2690407"/>
              <a:ext cx="812624" cy="812624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CDBA17C5-4803-7E51-A553-B747F8CDE84C}"/>
              </a:ext>
            </a:extLst>
          </p:cNvPr>
          <p:cNvGrpSpPr/>
          <p:nvPr/>
        </p:nvGrpSpPr>
        <p:grpSpPr>
          <a:xfrm>
            <a:off x="4510065" y="2200091"/>
            <a:ext cx="685800" cy="685800"/>
            <a:chOff x="3284429" y="2441448"/>
            <a:chExt cx="987552" cy="987552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04C34E4C-842B-F603-6E96-D9E574C5F76C}"/>
                </a:ext>
              </a:extLst>
            </p:cNvPr>
            <p:cNvSpPr/>
            <p:nvPr/>
          </p:nvSpPr>
          <p:spPr>
            <a:xfrm>
              <a:off x="3284429" y="2441448"/>
              <a:ext cx="987552" cy="987552"/>
            </a:xfrm>
            <a:prstGeom prst="ellipse">
              <a:avLst/>
            </a:prstGeom>
            <a:noFill/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" name="Picture 4">
              <a:extLst>
                <a:ext uri="{FF2B5EF4-FFF2-40B4-BE49-F238E27FC236}">
                  <a16:creationId xmlns:a16="http://schemas.microsoft.com/office/drawing/2014/main" id="{F5F1B15E-8573-8AC5-1289-4F96DD09AC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18065" y="2589906"/>
              <a:ext cx="720280" cy="7202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624EA77-38E5-9A44-3401-687631C9B1D6}"/>
              </a:ext>
            </a:extLst>
          </p:cNvPr>
          <p:cNvGrpSpPr/>
          <p:nvPr/>
        </p:nvGrpSpPr>
        <p:grpSpPr>
          <a:xfrm>
            <a:off x="5852425" y="2200091"/>
            <a:ext cx="685800" cy="685800"/>
            <a:chOff x="6476998" y="2425290"/>
            <a:chExt cx="987552" cy="987552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CB9A2CC-FA1A-1B29-7F26-E46386C80C5C}"/>
                </a:ext>
              </a:extLst>
            </p:cNvPr>
            <p:cNvSpPr/>
            <p:nvPr/>
          </p:nvSpPr>
          <p:spPr>
            <a:xfrm>
              <a:off x="6476998" y="2425290"/>
              <a:ext cx="987552" cy="987552"/>
            </a:xfrm>
            <a:prstGeom prst="ellipse">
              <a:avLst/>
            </a:prstGeom>
            <a:noFill/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7BCE396B-DA33-9676-47C2-02FC2121D9B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8408" y="2631631"/>
              <a:ext cx="639475" cy="639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BD5017A-E783-3742-9EC2-420D4A7340D0}"/>
              </a:ext>
            </a:extLst>
          </p:cNvPr>
          <p:cNvCxnSpPr>
            <a:cxnSpLocks/>
            <a:stCxn id="11" idx="6"/>
            <a:endCxn id="14" idx="2"/>
          </p:cNvCxnSpPr>
          <p:nvPr/>
        </p:nvCxnSpPr>
        <p:spPr>
          <a:xfrm>
            <a:off x="5195865" y="2542991"/>
            <a:ext cx="65656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AB245FD-63D7-EB38-C011-2AD32D67CA82}"/>
              </a:ext>
            </a:extLst>
          </p:cNvPr>
          <p:cNvGrpSpPr/>
          <p:nvPr/>
        </p:nvGrpSpPr>
        <p:grpSpPr>
          <a:xfrm>
            <a:off x="7194786" y="2200091"/>
            <a:ext cx="685800" cy="685800"/>
            <a:chOff x="8500864" y="2421968"/>
            <a:chExt cx="987552" cy="98755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4D42566-E632-3C96-B2D6-BFC61345C7DC}"/>
                </a:ext>
              </a:extLst>
            </p:cNvPr>
            <p:cNvSpPr/>
            <p:nvPr/>
          </p:nvSpPr>
          <p:spPr>
            <a:xfrm>
              <a:off x="8500864" y="2421968"/>
              <a:ext cx="987552" cy="987552"/>
            </a:xfrm>
            <a:prstGeom prst="ellipse">
              <a:avLst/>
            </a:prstGeom>
            <a:noFill/>
            <a:ln w="381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9" name="Graphic 18" descr="Database with solid fill">
              <a:extLst>
                <a:ext uri="{FF2B5EF4-FFF2-40B4-BE49-F238E27FC236}">
                  <a16:creationId xmlns:a16="http://schemas.microsoft.com/office/drawing/2014/main" id="{E401F721-DE4F-AD23-5C90-2069DFB84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616356" y="2537460"/>
              <a:ext cx="756568" cy="756568"/>
            </a:xfrm>
            <a:prstGeom prst="rect">
              <a:avLst/>
            </a:prstGeom>
          </p:spPr>
        </p:pic>
      </p:grp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B6810B3-C8D4-6A6D-8B57-CBC76DD53081}"/>
              </a:ext>
            </a:extLst>
          </p:cNvPr>
          <p:cNvCxnSpPr>
            <a:cxnSpLocks/>
            <a:stCxn id="14" idx="6"/>
            <a:endCxn id="18" idx="2"/>
          </p:cNvCxnSpPr>
          <p:nvPr/>
        </p:nvCxnSpPr>
        <p:spPr>
          <a:xfrm>
            <a:off x="6538225" y="2542991"/>
            <a:ext cx="65656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E72A0BB-743D-9B9B-33E8-37FD92F16CDA}"/>
              </a:ext>
            </a:extLst>
          </p:cNvPr>
          <p:cNvCxnSpPr>
            <a:cxnSpLocks/>
            <a:stCxn id="6" idx="6"/>
            <a:endCxn id="11" idx="2"/>
          </p:cNvCxnSpPr>
          <p:nvPr/>
        </p:nvCxnSpPr>
        <p:spPr>
          <a:xfrm>
            <a:off x="3853505" y="2542991"/>
            <a:ext cx="65656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D36C5623-B5EE-A93C-2EDF-E7BC82102BC0}"/>
              </a:ext>
            </a:extLst>
          </p:cNvPr>
          <p:cNvSpPr txBox="1"/>
          <p:nvPr/>
        </p:nvSpPr>
        <p:spPr>
          <a:xfrm>
            <a:off x="4465392" y="1550444"/>
            <a:ext cx="2046678" cy="264601"/>
          </a:xfrm>
          <a:prstGeom prst="rect">
            <a:avLst/>
          </a:prstGeom>
          <a:noFill/>
          <a:effectLst/>
        </p:spPr>
        <p:txBody>
          <a:bodyPr wrap="square" rtlCol="0">
            <a:noAutofit/>
          </a:bodyPr>
          <a:lstStyle/>
          <a:p>
            <a:pPr algn="l"/>
            <a:r>
              <a:rPr lang="en-US" sz="1600">
                <a:solidFill>
                  <a:schemeClr val="accent6">
                    <a:lumMod val="75000"/>
                  </a:schemeClr>
                </a:solidFill>
              </a:rPr>
              <a:t>Docker Contain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87319B6-ABA3-FC5E-B05F-19B71ABB1E29}"/>
              </a:ext>
            </a:extLst>
          </p:cNvPr>
          <p:cNvSpPr txBox="1"/>
          <p:nvPr/>
        </p:nvSpPr>
        <p:spPr>
          <a:xfrm>
            <a:off x="3102266" y="2956944"/>
            <a:ext cx="808219" cy="19912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/>
              <a:t>Websit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AF8D4E9-B8A3-48BC-6700-CD86D687CA42}"/>
              </a:ext>
            </a:extLst>
          </p:cNvPr>
          <p:cNvSpPr txBox="1"/>
          <p:nvPr/>
        </p:nvSpPr>
        <p:spPr>
          <a:xfrm>
            <a:off x="4602868" y="2937183"/>
            <a:ext cx="656560" cy="2377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/>
              <a:t>Scrap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3F96702-CC91-BD74-E57C-106E89FED435}"/>
              </a:ext>
            </a:extLst>
          </p:cNvPr>
          <p:cNvSpPr txBox="1"/>
          <p:nvPr/>
        </p:nvSpPr>
        <p:spPr>
          <a:xfrm>
            <a:off x="5964306" y="2937183"/>
            <a:ext cx="547764" cy="2377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/>
              <a:t>Filte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4F8E33A-20DF-2CDE-B65E-31DC11BE5294}"/>
              </a:ext>
            </a:extLst>
          </p:cNvPr>
          <p:cNvSpPr txBox="1"/>
          <p:nvPr/>
        </p:nvSpPr>
        <p:spPr>
          <a:xfrm>
            <a:off x="7263804" y="2937183"/>
            <a:ext cx="547764" cy="2377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/>
              <a:t>Store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001170FA-D8FA-34C9-B26E-31F432C7AF03}"/>
              </a:ext>
            </a:extLst>
          </p:cNvPr>
          <p:cNvCxnSpPr>
            <a:cxnSpLocks/>
            <a:stCxn id="27" idx="3"/>
            <a:endCxn id="1030" idx="1"/>
          </p:cNvCxnSpPr>
          <p:nvPr/>
        </p:nvCxnSpPr>
        <p:spPr>
          <a:xfrm flipV="1">
            <a:off x="8400441" y="2439017"/>
            <a:ext cx="759184" cy="60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C947AEF8-565C-94B5-6723-4032846095FB}"/>
              </a:ext>
            </a:extLst>
          </p:cNvPr>
          <p:cNvCxnSpPr>
            <a:cxnSpLocks/>
            <a:stCxn id="1030" idx="3"/>
            <a:endCxn id="1026" idx="1"/>
          </p:cNvCxnSpPr>
          <p:nvPr/>
        </p:nvCxnSpPr>
        <p:spPr>
          <a:xfrm flipV="1">
            <a:off x="9980076" y="2434250"/>
            <a:ext cx="717985" cy="47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2" name="Picture 8">
            <a:extLst>
              <a:ext uri="{FF2B5EF4-FFF2-40B4-BE49-F238E27FC236}">
                <a16:creationId xmlns:a16="http://schemas.microsoft.com/office/drawing/2014/main" id="{BECB6AEC-DECF-663D-BFA2-713877A96A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744" y="2033194"/>
            <a:ext cx="800100" cy="810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44FD7157-F85A-8B7C-E76F-5F1CEEAC0632}"/>
              </a:ext>
            </a:extLst>
          </p:cNvPr>
          <p:cNvGrpSpPr/>
          <p:nvPr/>
        </p:nvGrpSpPr>
        <p:grpSpPr>
          <a:xfrm>
            <a:off x="8968428" y="2028791"/>
            <a:ext cx="1297457" cy="874121"/>
            <a:chOff x="8496112" y="2467482"/>
            <a:chExt cx="1297457" cy="874121"/>
          </a:xfrm>
        </p:grpSpPr>
        <p:pic>
          <p:nvPicPr>
            <p:cNvPr id="1030" name="Picture 6" descr="microsoft excel mobile apps logo 17396828 PNG">
              <a:extLst>
                <a:ext uri="{FF2B5EF4-FFF2-40B4-BE49-F238E27FC236}">
                  <a16:creationId xmlns:a16="http://schemas.microsoft.com/office/drawing/2014/main" id="{D96800B3-7938-995C-9551-837B1B498D4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87309" y="2467482"/>
              <a:ext cx="820451" cy="8204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20F58657-E719-F222-B90D-5C2C5BFB16CD}"/>
                </a:ext>
              </a:extLst>
            </p:cNvPr>
            <p:cNvSpPr txBox="1"/>
            <p:nvPr/>
          </p:nvSpPr>
          <p:spPr>
            <a:xfrm>
              <a:off x="8496112" y="3120763"/>
              <a:ext cx="1297457" cy="22084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100" dirty="0"/>
                <a:t>Relevant Bills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1B2FC6B7-B68C-1A66-3023-09E92E3656D7}"/>
              </a:ext>
            </a:extLst>
          </p:cNvPr>
          <p:cNvGrpSpPr/>
          <p:nvPr/>
        </p:nvGrpSpPr>
        <p:grpSpPr>
          <a:xfrm>
            <a:off x="10614726" y="2024024"/>
            <a:ext cx="1039107" cy="873414"/>
            <a:chOff x="10346106" y="2479274"/>
            <a:chExt cx="1039107" cy="873414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8D0A1366-C65C-3BC2-9320-92E2C63FB2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29441" y="2479274"/>
              <a:ext cx="820451" cy="8204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05D0AC37-5424-FE1C-3053-4938F8CAA50A}"/>
                </a:ext>
              </a:extLst>
            </p:cNvPr>
            <p:cNvSpPr txBox="1"/>
            <p:nvPr/>
          </p:nvSpPr>
          <p:spPr>
            <a:xfrm>
              <a:off x="10346106" y="3120056"/>
              <a:ext cx="1039107" cy="23263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100" dirty="0"/>
                <a:t>Inbox alert</a:t>
              </a: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256D54C8-E2E7-B08A-CCA4-C2FF528D8454}"/>
              </a:ext>
            </a:extLst>
          </p:cNvPr>
          <p:cNvSpPr txBox="1"/>
          <p:nvPr/>
        </p:nvSpPr>
        <p:spPr>
          <a:xfrm>
            <a:off x="641448" y="3947940"/>
            <a:ext cx="11361227" cy="6740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400" i="1" dirty="0">
                <a:solidFill>
                  <a:schemeClr val="accent3"/>
                </a:solidFill>
              </a:rPr>
              <a:t>Code runs first Friday of each month, pulling relevant bills from legislative websites and storing on Share point and Hadoop, along with an email notification to the user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6581397-6147-18CA-E76F-50EC9BE10D97}"/>
              </a:ext>
            </a:extLst>
          </p:cNvPr>
          <p:cNvSpPr txBox="1"/>
          <p:nvPr/>
        </p:nvSpPr>
        <p:spPr>
          <a:xfrm>
            <a:off x="874390" y="2706624"/>
            <a:ext cx="919615" cy="19351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100" dirty="0"/>
              <a:t>Scheduler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E296FDA-178A-087D-C2A4-3C6EC622D946}"/>
              </a:ext>
            </a:extLst>
          </p:cNvPr>
          <p:cNvCxnSpPr>
            <a:cxnSpLocks/>
          </p:cNvCxnSpPr>
          <p:nvPr/>
        </p:nvCxnSpPr>
        <p:spPr>
          <a:xfrm>
            <a:off x="1986645" y="2438669"/>
            <a:ext cx="864042" cy="64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" descr="Jenkins vertical logo transparent PNG - StickPNG">
            <a:extLst>
              <a:ext uri="{FF2B5EF4-FFF2-40B4-BE49-F238E27FC236}">
                <a16:creationId xmlns:a16="http://schemas.microsoft.com/office/drawing/2014/main" id="{3173C6DB-9584-5735-EC2E-103EDDB33A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574" y="4906907"/>
            <a:ext cx="1909675" cy="1270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8274933-AA33-85B8-6821-AA11DDCA884B}"/>
              </a:ext>
            </a:extLst>
          </p:cNvPr>
          <p:cNvSpPr/>
          <p:nvPr/>
        </p:nvSpPr>
        <p:spPr>
          <a:xfrm>
            <a:off x="579682" y="1868159"/>
            <a:ext cx="1406963" cy="1295378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B4DD6F1D-AA24-77D8-D1BD-37498A761DA6}"/>
              </a:ext>
            </a:extLst>
          </p:cNvPr>
          <p:cNvSpPr/>
          <p:nvPr/>
        </p:nvSpPr>
        <p:spPr>
          <a:xfrm>
            <a:off x="383492" y="1276032"/>
            <a:ext cx="8016949" cy="2338078"/>
          </a:xfrm>
          <a:prstGeom prst="roundRect">
            <a:avLst/>
          </a:prstGeom>
          <a:noFill/>
          <a:ln>
            <a:solidFill>
              <a:srgbClr val="9579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ED06916-1638-535A-5CAE-FDF81907F0EE}"/>
              </a:ext>
            </a:extLst>
          </p:cNvPr>
          <p:cNvSpPr txBox="1"/>
          <p:nvPr/>
        </p:nvSpPr>
        <p:spPr>
          <a:xfrm>
            <a:off x="776174" y="1637885"/>
            <a:ext cx="919615" cy="19351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100" dirty="0">
                <a:solidFill>
                  <a:schemeClr val="accent1"/>
                </a:solidFill>
              </a:rPr>
              <a:t>Cron JOB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35BA99C-5B39-3B22-CB82-13B54557BF42}"/>
              </a:ext>
            </a:extLst>
          </p:cNvPr>
          <p:cNvSpPr txBox="1"/>
          <p:nvPr/>
        </p:nvSpPr>
        <p:spPr>
          <a:xfrm>
            <a:off x="688179" y="1025569"/>
            <a:ext cx="832368" cy="1720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100" dirty="0">
                <a:solidFill>
                  <a:schemeClr val="accent3"/>
                </a:solidFill>
              </a:rPr>
              <a:t>Jenkins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EBC68DF4-6F11-0D23-2B3A-874A0F9CF2D1}"/>
              </a:ext>
            </a:extLst>
          </p:cNvPr>
          <p:cNvSpPr/>
          <p:nvPr/>
        </p:nvSpPr>
        <p:spPr>
          <a:xfrm>
            <a:off x="134726" y="997258"/>
            <a:ext cx="11867949" cy="2855150"/>
          </a:xfrm>
          <a:prstGeom prst="round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59ABC8C-20E3-C367-CC16-1F6CF7318817}"/>
              </a:ext>
            </a:extLst>
          </p:cNvPr>
          <p:cNvSpPr txBox="1"/>
          <p:nvPr/>
        </p:nvSpPr>
        <p:spPr>
          <a:xfrm>
            <a:off x="641448" y="753009"/>
            <a:ext cx="967094" cy="18825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100" dirty="0">
                <a:solidFill>
                  <a:schemeClr val="accent2"/>
                </a:solidFill>
              </a:rPr>
              <a:t>OpenShift</a:t>
            </a:r>
          </a:p>
        </p:txBody>
      </p:sp>
    </p:spTree>
    <p:extLst>
      <p:ext uri="{BB962C8B-B14F-4D97-AF65-F5344CB8AC3E}">
        <p14:creationId xmlns:p14="http://schemas.microsoft.com/office/powerpoint/2010/main" val="24025431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8D69A0-31BE-963B-2CED-A51DE824DB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3566E2B-A6D0-85E6-8052-A9763153E5FA}"/>
              </a:ext>
            </a:extLst>
          </p:cNvPr>
          <p:cNvSpPr txBox="1"/>
          <p:nvPr/>
        </p:nvSpPr>
        <p:spPr>
          <a:xfrm>
            <a:off x="0" y="0"/>
            <a:ext cx="4628442" cy="56973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2400" b="1">
                <a:solidFill>
                  <a:schemeClr val="accent1"/>
                </a:solidFill>
                <a:latin typeface="+mj-lt"/>
              </a:rPr>
              <a:t>Value Proposition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F7F105AC-6F9C-3A66-43BB-647B8A4EE124}"/>
              </a:ext>
            </a:extLst>
          </p:cNvPr>
          <p:cNvSpPr/>
          <p:nvPr/>
        </p:nvSpPr>
        <p:spPr>
          <a:xfrm>
            <a:off x="154767" y="1423987"/>
            <a:ext cx="3638550" cy="4162425"/>
          </a:xfrm>
          <a:prstGeom prst="roundRect">
            <a:avLst/>
          </a:prstGeom>
          <a:solidFill>
            <a:srgbClr val="EAE4F6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accent1"/>
                </a:solidFill>
                <a:latin typeface="+mj-lt"/>
              </a:rPr>
              <a:t>Process Efficiency</a:t>
            </a:r>
          </a:p>
          <a:p>
            <a:pPr algn="ctr"/>
            <a:endParaRPr lang="en-US" sz="2400" dirty="0">
              <a:solidFill>
                <a:schemeClr val="accent1"/>
              </a:solidFill>
              <a:latin typeface="+mj-lt"/>
            </a:endParaRPr>
          </a:p>
          <a:p>
            <a:pPr algn="ctr"/>
            <a:endParaRPr lang="en-US" dirty="0"/>
          </a:p>
          <a:p>
            <a:pPr algn="ctr"/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/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ime savings achieved through automation</a:t>
            </a: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r>
              <a:rPr lang="en-US" dirty="0">
                <a:solidFill>
                  <a:srgbClr val="C00000"/>
                </a:solidFill>
              </a:rPr>
              <a:t>   </a:t>
            </a:r>
            <a:r>
              <a:rPr lang="en-US" sz="1600" dirty="0">
                <a:solidFill>
                  <a:schemeClr val="accent3"/>
                </a:solidFill>
              </a:rPr>
              <a:t>0-240</a:t>
            </a:r>
            <a:r>
              <a:rPr lang="en-US" dirty="0"/>
              <a:t>		      </a:t>
            </a:r>
            <a:r>
              <a:rPr lang="en-US" sz="1600" dirty="0">
                <a:solidFill>
                  <a:schemeClr val="accent2"/>
                </a:solidFill>
              </a:rPr>
              <a:t>0-30</a:t>
            </a:r>
          </a:p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efore (mins)                 After (mins)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0B41D36-99E0-BB01-1D8A-E94A193B593B}"/>
              </a:ext>
            </a:extLst>
          </p:cNvPr>
          <p:cNvGrpSpPr/>
          <p:nvPr/>
        </p:nvGrpSpPr>
        <p:grpSpPr>
          <a:xfrm>
            <a:off x="8342441" y="1423987"/>
            <a:ext cx="3638550" cy="4162425"/>
            <a:chOff x="6190107" y="1610867"/>
            <a:chExt cx="3638550" cy="4162425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8094C41B-4C14-02E9-A977-CF2B68D3AF31}"/>
                </a:ext>
              </a:extLst>
            </p:cNvPr>
            <p:cNvSpPr/>
            <p:nvPr/>
          </p:nvSpPr>
          <p:spPr>
            <a:xfrm>
              <a:off x="6190107" y="1610867"/>
              <a:ext cx="3638550" cy="4162425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bg2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400">
                  <a:solidFill>
                    <a:schemeClr val="accent1"/>
                  </a:solidFill>
                  <a:latin typeface="+mj-lt"/>
                </a:rPr>
                <a:t>Implementation Progress</a:t>
              </a:r>
            </a:p>
            <a:p>
              <a:pPr algn="ctr"/>
              <a:endParaRPr lang="en-US" sz="2400">
                <a:solidFill>
                  <a:schemeClr val="accent1"/>
                </a:solidFill>
                <a:latin typeface="+mj-lt"/>
              </a:endParaRPr>
            </a:p>
            <a:p>
              <a:pPr algn="ctr"/>
              <a:endParaRPr lang="en-US" sz="2400">
                <a:solidFill>
                  <a:schemeClr val="accent1"/>
                </a:solidFill>
                <a:latin typeface="+mj-lt"/>
              </a:endParaRPr>
            </a:p>
            <a:p>
              <a:pPr algn="ctr"/>
              <a:endParaRPr lang="en-US"/>
            </a:p>
            <a:p>
              <a:pPr algn="ctr"/>
              <a:endParaRPr lang="en-US"/>
            </a:p>
            <a:p>
              <a:pPr algn="ctr"/>
              <a:endParaRPr lang="en-US"/>
            </a:p>
            <a:p>
              <a:pPr algn="ctr"/>
              <a:endParaRPr lang="en-US"/>
            </a:p>
            <a:p>
              <a:pPr algn="ctr"/>
              <a:endParaRPr lang="en-US">
                <a:solidFill>
                  <a:srgbClr val="C00000"/>
                </a:solidFill>
              </a:endParaRPr>
            </a:p>
            <a:p>
              <a:pPr algn="ctr"/>
              <a:endParaRPr lang="en-US">
                <a:solidFill>
                  <a:srgbClr val="C00000"/>
                </a:solidFill>
              </a:endParaRPr>
            </a:p>
            <a:p>
              <a:pPr algn="ctr"/>
              <a:r>
                <a:rPr lang="en-US">
                  <a:solidFill>
                    <a:srgbClr val="C00000"/>
                  </a:solidFill>
                </a:rPr>
                <a:t> </a:t>
              </a:r>
              <a:r>
                <a:rPr lang="en-US" sz="1400">
                  <a:solidFill>
                    <a:schemeClr val="accent1"/>
                  </a:solidFill>
                </a:rPr>
                <a:t>Completed</a:t>
              </a:r>
              <a:r>
                <a:rPr lang="en-US">
                  <a:solidFill>
                    <a:schemeClr val="accent1"/>
                  </a:solidFill>
                </a:rPr>
                <a:t> </a:t>
              </a:r>
              <a:r>
                <a:rPr lang="en-US" sz="1400">
                  <a:solidFill>
                    <a:schemeClr val="accent1"/>
                  </a:solidFill>
                </a:rPr>
                <a:t>49 of 52 states, CMS and OIG legislation solution implementation; 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8C94D063-0BE1-2C88-DC94-B7F3E4D85F63}"/>
                </a:ext>
              </a:extLst>
            </p:cNvPr>
            <p:cNvSpPr txBox="1"/>
            <p:nvPr/>
          </p:nvSpPr>
          <p:spPr>
            <a:xfrm>
              <a:off x="7638808" y="3326318"/>
              <a:ext cx="966177" cy="36576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2000" b="1">
                  <a:solidFill>
                    <a:schemeClr val="accent1"/>
                  </a:solidFill>
                </a:rPr>
                <a:t>95%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9915FD17-923A-0EE2-12A5-F08FE70D99F2}"/>
              </a:ext>
            </a:extLst>
          </p:cNvPr>
          <p:cNvSpPr txBox="1"/>
          <p:nvPr/>
        </p:nvSpPr>
        <p:spPr>
          <a:xfrm>
            <a:off x="1588385" y="3021648"/>
            <a:ext cx="952901" cy="4489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2000" b="1">
                <a:solidFill>
                  <a:schemeClr val="accent3"/>
                </a:solidFill>
              </a:rPr>
              <a:t>87.5%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FBB2115-4635-B427-9A79-360839914899}"/>
              </a:ext>
            </a:extLst>
          </p:cNvPr>
          <p:cNvGrpSpPr/>
          <p:nvPr/>
        </p:nvGrpSpPr>
        <p:grpSpPr>
          <a:xfrm>
            <a:off x="4269870" y="1423987"/>
            <a:ext cx="3638550" cy="4162425"/>
            <a:chOff x="6190107" y="1610867"/>
            <a:chExt cx="3638550" cy="4162425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EFA91272-F61C-2C62-C1A3-205440A39832}"/>
                </a:ext>
              </a:extLst>
            </p:cNvPr>
            <p:cNvSpPr/>
            <p:nvPr/>
          </p:nvSpPr>
          <p:spPr>
            <a:xfrm>
              <a:off x="6190107" y="1610867"/>
              <a:ext cx="3638550" cy="4162425"/>
            </a:xfrm>
            <a:prstGeom prst="roundRect">
              <a:avLst/>
            </a:prstGeom>
            <a:solidFill>
              <a:srgbClr val="FFF3FA"/>
            </a:solidFill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400">
                  <a:solidFill>
                    <a:schemeClr val="accent1"/>
                  </a:solidFill>
                  <a:latin typeface="+mj-lt"/>
                </a:rPr>
                <a:t>Development Progress</a:t>
              </a:r>
            </a:p>
            <a:p>
              <a:pPr algn="ctr"/>
              <a:endParaRPr lang="en-US" sz="2400">
                <a:solidFill>
                  <a:schemeClr val="accent1"/>
                </a:solidFill>
                <a:latin typeface="+mj-lt"/>
              </a:endParaRPr>
            </a:p>
            <a:p>
              <a:pPr algn="ctr"/>
              <a:endParaRPr lang="en-US" sz="2400">
                <a:solidFill>
                  <a:schemeClr val="accent1"/>
                </a:solidFill>
                <a:latin typeface="+mj-lt"/>
              </a:endParaRPr>
            </a:p>
            <a:p>
              <a:pPr algn="ctr"/>
              <a:endParaRPr lang="en-US"/>
            </a:p>
            <a:p>
              <a:pPr algn="ctr"/>
              <a:endParaRPr lang="en-US"/>
            </a:p>
            <a:p>
              <a:pPr algn="ctr"/>
              <a:endParaRPr lang="en-US"/>
            </a:p>
            <a:p>
              <a:pPr algn="ctr"/>
              <a:endParaRPr lang="en-US"/>
            </a:p>
            <a:p>
              <a:pPr algn="ctr"/>
              <a:endParaRPr lang="en-US">
                <a:solidFill>
                  <a:srgbClr val="C00000"/>
                </a:solidFill>
              </a:endParaRPr>
            </a:p>
            <a:p>
              <a:pPr algn="ctr"/>
              <a:endParaRPr lang="en-US">
                <a:solidFill>
                  <a:srgbClr val="C00000"/>
                </a:solidFill>
              </a:endParaRPr>
            </a:p>
            <a:p>
              <a:pPr algn="ctr"/>
              <a:r>
                <a:rPr lang="en-US">
                  <a:solidFill>
                    <a:srgbClr val="C00000"/>
                  </a:solidFill>
                </a:rPr>
                <a:t>   </a:t>
              </a:r>
              <a:r>
                <a:rPr lang="en-US" sz="1400">
                  <a:solidFill>
                    <a:schemeClr val="accent1"/>
                  </a:solidFill>
                </a:rPr>
                <a:t>52 states, CMS and OIG legislation pull completed; 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B337586-48EE-1586-EE49-329A4785866C}"/>
                </a:ext>
              </a:extLst>
            </p:cNvPr>
            <p:cNvSpPr txBox="1"/>
            <p:nvPr/>
          </p:nvSpPr>
          <p:spPr>
            <a:xfrm>
              <a:off x="7638808" y="3326318"/>
              <a:ext cx="966177" cy="36576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2000" b="1">
                  <a:solidFill>
                    <a:schemeClr val="accent1"/>
                  </a:solidFill>
                </a:rPr>
                <a:t>100%</a:t>
              </a:r>
            </a:p>
          </p:txBody>
        </p:sp>
      </p:grp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7E7F91DB-10A7-10F5-B4DC-95FE3D3D00C0}"/>
              </a:ext>
            </a:extLst>
          </p:cNvPr>
          <p:cNvSpPr/>
          <p:nvPr/>
        </p:nvSpPr>
        <p:spPr>
          <a:xfrm>
            <a:off x="1719469" y="4790661"/>
            <a:ext cx="503989" cy="159026"/>
          </a:xfrm>
          <a:prstGeom prst="rightArrow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B8F5288D-7FE8-23EF-F08A-5279060786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8450295"/>
              </p:ext>
            </p:extLst>
          </p:nvPr>
        </p:nvGraphicFramePr>
        <p:xfrm>
          <a:off x="8662598" y="1778477"/>
          <a:ext cx="3178107" cy="3012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AB73389F-4ED0-0700-E435-5088BB26C8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94088570"/>
              </p:ext>
            </p:extLst>
          </p:nvPr>
        </p:nvGraphicFramePr>
        <p:xfrm>
          <a:off x="4071263" y="1271588"/>
          <a:ext cx="3829296" cy="37421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8839429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B99BD5-8806-3A2F-E81B-BA4DB2202F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Out of Sequence (OOS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82B38E-C761-2D55-5CFF-ADED51FF15E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izing Analysis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20EEE188-656B-7297-9A1B-7B24437EFD9A}"/>
              </a:ext>
            </a:extLst>
          </p:cNvPr>
          <p:cNvSpPr txBox="1">
            <a:spLocks/>
          </p:cNvSpPr>
          <p:nvPr/>
        </p:nvSpPr>
        <p:spPr>
          <a:xfrm>
            <a:off x="458725" y="2522115"/>
            <a:ext cx="6355543" cy="508228"/>
          </a:xfrm>
          <a:prstGeom prst="rect">
            <a:avLst/>
          </a:prstGeom>
          <a:noFill/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kern="1200" baseline="0" noProof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342900" marR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None/>
              <a:tabLst/>
              <a:defRPr lang="en-US" sz="15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marR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None/>
              <a:tabLst/>
              <a:defRPr lang="en-US" sz="13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marR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None/>
              <a:tabLst/>
              <a:defRPr lang="en-US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marR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None/>
              <a:tabLst/>
              <a:defRPr lang="en-US" sz="1200" kern="1200" noProof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7145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accent3"/>
                </a:solidFill>
              </a:rPr>
              <a:t>HCSC Sep 2025 &amp; RVA – All player</a:t>
            </a:r>
          </a:p>
        </p:txBody>
      </p:sp>
    </p:spTree>
    <p:extLst>
      <p:ext uri="{BB962C8B-B14F-4D97-AF65-F5344CB8AC3E}">
        <p14:creationId xmlns:p14="http://schemas.microsoft.com/office/powerpoint/2010/main" val="24061656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FF475-4BBF-4900-1D28-328F7DC78E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7D0D90-2A4F-A391-08A3-797FEBF788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9" name="Graphic 8" descr="Daily calendar with solid fill">
            <a:extLst>
              <a:ext uri="{FF2B5EF4-FFF2-40B4-BE49-F238E27FC236}">
                <a16:creationId xmlns:a16="http://schemas.microsoft.com/office/drawing/2014/main" id="{B90D78FF-FB03-ACEC-97EB-68D3EA1F59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3348" y="749621"/>
            <a:ext cx="304807" cy="304807"/>
          </a:xfrm>
          <a:prstGeom prst="rect">
            <a:avLst/>
          </a:prstGeom>
        </p:spPr>
      </p:pic>
      <p:pic>
        <p:nvPicPr>
          <p:cNvPr id="5" name="Graphic 4" descr="Man outline">
            <a:extLst>
              <a:ext uri="{FF2B5EF4-FFF2-40B4-BE49-F238E27FC236}">
                <a16:creationId xmlns:a16="http://schemas.microsoft.com/office/drawing/2014/main" id="{C9039357-5914-32FF-973C-212C282AC4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471" y="764867"/>
            <a:ext cx="713516" cy="625719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F0C50BA6-653D-2637-F909-0DD8212379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6504" y="699289"/>
            <a:ext cx="713516" cy="712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235E64D5-325C-0D61-67FE-81BCDBEF94EB}"/>
              </a:ext>
            </a:extLst>
          </p:cNvPr>
          <p:cNvCxnSpPr>
            <a:cxnSpLocks/>
            <a:endCxn id="2052" idx="1"/>
          </p:cNvCxnSpPr>
          <p:nvPr/>
        </p:nvCxnSpPr>
        <p:spPr>
          <a:xfrm>
            <a:off x="654471" y="1054428"/>
            <a:ext cx="176644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6FE444D6-1248-88DA-F6DF-A6BB524643E9}"/>
              </a:ext>
            </a:extLst>
          </p:cNvPr>
          <p:cNvSpPr txBox="1"/>
          <p:nvPr/>
        </p:nvSpPr>
        <p:spPr>
          <a:xfrm>
            <a:off x="1259913" y="777975"/>
            <a:ext cx="71351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May 5</a:t>
            </a:r>
            <a:r>
              <a:rPr lang="en-US" sz="1100" baseline="30000" dirty="0"/>
              <a:t>th</a:t>
            </a:r>
            <a:r>
              <a:rPr lang="en-US" sz="1100" dirty="0"/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85BB0F-F5BF-87E4-5306-8E1585FE625C}"/>
              </a:ext>
            </a:extLst>
          </p:cNvPr>
          <p:cNvSpPr txBox="1"/>
          <p:nvPr/>
        </p:nvSpPr>
        <p:spPr>
          <a:xfrm>
            <a:off x="848196" y="1083430"/>
            <a:ext cx="1244725" cy="44524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en-US" sz="1050">
                <a:solidFill>
                  <a:schemeClr val="accent3"/>
                </a:solidFill>
              </a:rPr>
              <a:t>Claim </a:t>
            </a:r>
            <a:r>
              <a:rPr lang="en-US" sz="1050" dirty="0">
                <a:solidFill>
                  <a:schemeClr val="accent3"/>
                </a:solidFill>
              </a:rPr>
              <a:t>1</a:t>
            </a:r>
          </a:p>
          <a:p>
            <a:pPr algn="ctr"/>
            <a:r>
              <a:rPr lang="en-US" sz="1050">
                <a:solidFill>
                  <a:schemeClr val="accent1"/>
                </a:solidFill>
              </a:rPr>
              <a:t>Claim</a:t>
            </a:r>
            <a:r>
              <a:rPr lang="en-US" sz="1050" dirty="0">
                <a:solidFill>
                  <a:schemeClr val="accent1"/>
                </a:solidFill>
              </a:rPr>
              <a:t> 2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76BD954-AD68-9B59-BFF7-139411EDE071}"/>
              </a:ext>
            </a:extLst>
          </p:cNvPr>
          <p:cNvSpPr txBox="1"/>
          <p:nvPr/>
        </p:nvSpPr>
        <p:spPr>
          <a:xfrm>
            <a:off x="2400853" y="1343990"/>
            <a:ext cx="713516" cy="26476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1050" dirty="0"/>
              <a:t>Hospital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315FF0B6-4D6E-009B-6F3B-7072966577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919" y="718269"/>
            <a:ext cx="673384" cy="672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FA5ACFF7-4923-EC64-19D5-E24F6CB9BF2F}"/>
              </a:ext>
            </a:extLst>
          </p:cNvPr>
          <p:cNvSpPr txBox="1"/>
          <p:nvPr/>
        </p:nvSpPr>
        <p:spPr>
          <a:xfrm>
            <a:off x="6455576" y="1341056"/>
            <a:ext cx="575291" cy="29372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1050" dirty="0"/>
              <a:t>Paye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81E2C81-A42B-6FAE-1F95-2D58FC61803B}"/>
              </a:ext>
            </a:extLst>
          </p:cNvPr>
          <p:cNvSpPr txBox="1"/>
          <p:nvPr/>
        </p:nvSpPr>
        <p:spPr>
          <a:xfrm>
            <a:off x="3639869" y="1129784"/>
            <a:ext cx="2161067" cy="53590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1100" dirty="0"/>
              <a:t>Bundles them together &amp;</a:t>
            </a:r>
          </a:p>
          <a:p>
            <a:pPr algn="l"/>
            <a:r>
              <a:rPr lang="en-US" sz="1100" dirty="0"/>
              <a:t> submit the claim with </a:t>
            </a:r>
          </a:p>
          <a:p>
            <a:pPr algn="l"/>
            <a:r>
              <a:rPr lang="en-US" sz="1100" dirty="0"/>
              <a:t>proper coding guidelines</a:t>
            </a: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F7DB8149-9280-85B9-DF57-BCC3787E42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2836" y="602490"/>
            <a:ext cx="905308" cy="903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42A3B193-4522-458C-301A-9BBFC24CDC4B}"/>
              </a:ext>
            </a:extLst>
          </p:cNvPr>
          <p:cNvSpPr txBox="1"/>
          <p:nvPr/>
        </p:nvSpPr>
        <p:spPr>
          <a:xfrm>
            <a:off x="9167393" y="1626694"/>
            <a:ext cx="2094637" cy="31546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 dirty="0"/>
              <a:t>Adjudicate appropriately</a:t>
            </a:r>
          </a:p>
        </p:txBody>
      </p:sp>
      <p:pic>
        <p:nvPicPr>
          <p:cNvPr id="43" name="Graphic 42" descr="Daily calendar with solid fill">
            <a:extLst>
              <a:ext uri="{FF2B5EF4-FFF2-40B4-BE49-F238E27FC236}">
                <a16:creationId xmlns:a16="http://schemas.microsoft.com/office/drawing/2014/main" id="{D449B58F-3316-3D8E-B696-16F2C92C08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54119" y="3155440"/>
            <a:ext cx="304807" cy="304807"/>
          </a:xfrm>
          <a:prstGeom prst="rect">
            <a:avLst/>
          </a:prstGeom>
        </p:spPr>
      </p:pic>
      <p:pic>
        <p:nvPicPr>
          <p:cNvPr id="45" name="Graphic 44" descr="Man outline">
            <a:extLst>
              <a:ext uri="{FF2B5EF4-FFF2-40B4-BE49-F238E27FC236}">
                <a16:creationId xmlns:a16="http://schemas.microsoft.com/office/drawing/2014/main" id="{9537F30C-ECBF-CBBE-1EE9-7E3E648DAF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5363" y="3132544"/>
            <a:ext cx="713516" cy="625719"/>
          </a:xfrm>
          <a:prstGeom prst="rect">
            <a:avLst/>
          </a:prstGeom>
        </p:spPr>
      </p:pic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4D95E671-6974-1F45-2BB1-17A08594BC7E}"/>
              </a:ext>
            </a:extLst>
          </p:cNvPr>
          <p:cNvCxnSpPr>
            <a:cxnSpLocks/>
            <a:endCxn id="53" idx="1"/>
          </p:cNvCxnSpPr>
          <p:nvPr/>
        </p:nvCxnSpPr>
        <p:spPr>
          <a:xfrm>
            <a:off x="1596292" y="3451959"/>
            <a:ext cx="1309608" cy="2139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5FFDD4F3-886F-8B40-01D9-2C478B1F8082}"/>
              </a:ext>
            </a:extLst>
          </p:cNvPr>
          <p:cNvSpPr txBox="1"/>
          <p:nvPr/>
        </p:nvSpPr>
        <p:spPr>
          <a:xfrm>
            <a:off x="2100684" y="3183794"/>
            <a:ext cx="71351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May 5</a:t>
            </a:r>
            <a:r>
              <a:rPr lang="en-US" sz="1100" baseline="30000" dirty="0"/>
              <a:t>th</a:t>
            </a:r>
            <a:r>
              <a:rPr lang="en-US" sz="1100" dirty="0"/>
              <a:t> 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877593B-2913-321D-D4DA-6155287A109B}"/>
              </a:ext>
            </a:extLst>
          </p:cNvPr>
          <p:cNvSpPr txBox="1"/>
          <p:nvPr/>
        </p:nvSpPr>
        <p:spPr>
          <a:xfrm>
            <a:off x="1688967" y="3489249"/>
            <a:ext cx="1244725" cy="44524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en-US" sz="1050">
                <a:solidFill>
                  <a:schemeClr val="accent3"/>
                </a:solidFill>
              </a:rPr>
              <a:t>Claim</a:t>
            </a:r>
            <a:r>
              <a:rPr lang="en-US" sz="1050" dirty="0">
                <a:solidFill>
                  <a:schemeClr val="accent3"/>
                </a:solidFill>
              </a:rPr>
              <a:t> 1</a:t>
            </a:r>
          </a:p>
          <a:p>
            <a:pPr algn="ctr"/>
            <a:r>
              <a:rPr lang="en-US" sz="1050">
                <a:solidFill>
                  <a:schemeClr val="accent1"/>
                </a:solidFill>
              </a:rPr>
              <a:t>Claim</a:t>
            </a:r>
            <a:r>
              <a:rPr lang="en-US" sz="1050" dirty="0">
                <a:solidFill>
                  <a:schemeClr val="accent1"/>
                </a:solidFill>
              </a:rPr>
              <a:t> 2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AAC06CB-CA31-3EDA-8681-DA562F41ABE0}"/>
              </a:ext>
            </a:extLst>
          </p:cNvPr>
          <p:cNvSpPr txBox="1"/>
          <p:nvPr/>
        </p:nvSpPr>
        <p:spPr>
          <a:xfrm>
            <a:off x="2905900" y="3788118"/>
            <a:ext cx="713516" cy="26476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1050" dirty="0"/>
              <a:t>Hospital</a:t>
            </a:r>
          </a:p>
        </p:txBody>
      </p:sp>
      <p:pic>
        <p:nvPicPr>
          <p:cNvPr id="53" name="Picture 4">
            <a:extLst>
              <a:ext uri="{FF2B5EF4-FFF2-40B4-BE49-F238E27FC236}">
                <a16:creationId xmlns:a16="http://schemas.microsoft.com/office/drawing/2014/main" id="{7FCAAA27-8BD2-5294-8B26-43F7FD00BB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5900" y="3137198"/>
            <a:ext cx="673384" cy="672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6277DCD3-B03E-CDED-DBE8-1D830777FE45}"/>
              </a:ext>
            </a:extLst>
          </p:cNvPr>
          <p:cNvCxnSpPr>
            <a:cxnSpLocks/>
            <a:endCxn id="61" idx="1"/>
          </p:cNvCxnSpPr>
          <p:nvPr/>
        </p:nvCxnSpPr>
        <p:spPr>
          <a:xfrm flipV="1">
            <a:off x="3652874" y="3023058"/>
            <a:ext cx="1848312" cy="482957"/>
          </a:xfrm>
          <a:prstGeom prst="bentConnector3">
            <a:avLst>
              <a:gd name="adj1" fmla="val 9732"/>
            </a:avLst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4C9781E5-89F5-97FD-CCA4-B2180958FFB4}"/>
              </a:ext>
            </a:extLst>
          </p:cNvPr>
          <p:cNvSpPr txBox="1"/>
          <p:nvPr/>
        </p:nvSpPr>
        <p:spPr>
          <a:xfrm>
            <a:off x="3968581" y="2785238"/>
            <a:ext cx="1244725" cy="26476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en-US" sz="1050">
                <a:solidFill>
                  <a:schemeClr val="accent3"/>
                </a:solidFill>
              </a:rPr>
              <a:t>Claim</a:t>
            </a:r>
            <a:r>
              <a:rPr lang="en-US" sz="1050" dirty="0">
                <a:solidFill>
                  <a:schemeClr val="accent3"/>
                </a:solidFill>
              </a:rPr>
              <a:t> 1</a:t>
            </a:r>
          </a:p>
        </p:txBody>
      </p:sp>
      <p:pic>
        <p:nvPicPr>
          <p:cNvPr id="61" name="Picture 2">
            <a:extLst>
              <a:ext uri="{FF2B5EF4-FFF2-40B4-BE49-F238E27FC236}">
                <a16:creationId xmlns:a16="http://schemas.microsoft.com/office/drawing/2014/main" id="{B641708E-6987-C24E-F693-919475F45D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1186" y="2666865"/>
            <a:ext cx="713516" cy="712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96662118-7810-C294-4276-9CECE9BD05CD}"/>
              </a:ext>
            </a:extLst>
          </p:cNvPr>
          <p:cNvCxnSpPr>
            <a:cxnSpLocks/>
          </p:cNvCxnSpPr>
          <p:nvPr/>
        </p:nvCxnSpPr>
        <p:spPr>
          <a:xfrm>
            <a:off x="3659151" y="3511701"/>
            <a:ext cx="3790868" cy="49977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A178AA31-8EF6-AE88-CAF3-D7EBBC9C5A35}"/>
              </a:ext>
            </a:extLst>
          </p:cNvPr>
          <p:cNvSpPr txBox="1"/>
          <p:nvPr/>
        </p:nvSpPr>
        <p:spPr>
          <a:xfrm>
            <a:off x="3968581" y="3522334"/>
            <a:ext cx="1244725" cy="24371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en-US" sz="1050">
                <a:solidFill>
                  <a:schemeClr val="accent1"/>
                </a:solidFill>
              </a:rPr>
              <a:t>Claim</a:t>
            </a:r>
            <a:r>
              <a:rPr lang="en-US" sz="1050" dirty="0">
                <a:solidFill>
                  <a:schemeClr val="accent1"/>
                </a:solidFill>
              </a:rPr>
              <a:t> 2</a:t>
            </a:r>
          </a:p>
        </p:txBody>
      </p:sp>
      <p:pic>
        <p:nvPicPr>
          <p:cNvPr id="72" name="Picture 2">
            <a:extLst>
              <a:ext uri="{FF2B5EF4-FFF2-40B4-BE49-F238E27FC236}">
                <a16:creationId xmlns:a16="http://schemas.microsoft.com/office/drawing/2014/main" id="{E354E241-27FC-DE97-465B-FC5FFA32C9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0019" y="3655281"/>
            <a:ext cx="713516" cy="712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6">
            <a:extLst>
              <a:ext uri="{FF2B5EF4-FFF2-40B4-BE49-F238E27FC236}">
                <a16:creationId xmlns:a16="http://schemas.microsoft.com/office/drawing/2014/main" id="{5A0D19AC-203B-5CBF-C370-FF828A60F9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3014" y="2565397"/>
            <a:ext cx="905308" cy="903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6">
            <a:extLst>
              <a:ext uri="{FF2B5EF4-FFF2-40B4-BE49-F238E27FC236}">
                <a16:creationId xmlns:a16="http://schemas.microsoft.com/office/drawing/2014/main" id="{E9EAB853-1CDD-327C-EC51-6462C96E47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7902" y="3559536"/>
            <a:ext cx="905308" cy="903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3C694525-BE85-41D6-C70E-C42E9513F7B6}"/>
              </a:ext>
            </a:extLst>
          </p:cNvPr>
          <p:cNvCxnSpPr>
            <a:cxnSpLocks/>
            <a:stCxn id="82" idx="2"/>
          </p:cNvCxnSpPr>
          <p:nvPr/>
        </p:nvCxnSpPr>
        <p:spPr>
          <a:xfrm>
            <a:off x="8515668" y="3469270"/>
            <a:ext cx="0" cy="1186911"/>
          </a:xfrm>
          <a:prstGeom prst="line">
            <a:avLst/>
          </a:prstGeom>
          <a:ln w="19050">
            <a:solidFill>
              <a:schemeClr val="accent4"/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597C8D58-AE7E-7EB2-27EB-FD932DEB6068}"/>
              </a:ext>
            </a:extLst>
          </p:cNvPr>
          <p:cNvCxnSpPr>
            <a:cxnSpLocks/>
            <a:stCxn id="83" idx="2"/>
          </p:cNvCxnSpPr>
          <p:nvPr/>
        </p:nvCxnSpPr>
        <p:spPr>
          <a:xfrm>
            <a:off x="10770556" y="4463409"/>
            <a:ext cx="0" cy="192772"/>
          </a:xfrm>
          <a:prstGeom prst="line">
            <a:avLst/>
          </a:prstGeom>
          <a:ln w="19050">
            <a:solidFill>
              <a:schemeClr val="accent4"/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D023BA9D-6166-4149-B67F-2AE015ECE6B7}"/>
              </a:ext>
            </a:extLst>
          </p:cNvPr>
          <p:cNvCxnSpPr/>
          <p:nvPr/>
        </p:nvCxnSpPr>
        <p:spPr>
          <a:xfrm>
            <a:off x="8468734" y="4656181"/>
            <a:ext cx="2254888" cy="0"/>
          </a:xfrm>
          <a:prstGeom prst="straightConnector1">
            <a:avLst/>
          </a:prstGeom>
          <a:ln>
            <a:solidFill>
              <a:schemeClr val="accent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Box 100">
            <a:extLst>
              <a:ext uri="{FF2B5EF4-FFF2-40B4-BE49-F238E27FC236}">
                <a16:creationId xmlns:a16="http://schemas.microsoft.com/office/drawing/2014/main" id="{5EDE5948-95BC-3CD0-7BD3-609E4803C51E}"/>
              </a:ext>
            </a:extLst>
          </p:cNvPr>
          <p:cNvSpPr txBox="1"/>
          <p:nvPr/>
        </p:nvSpPr>
        <p:spPr>
          <a:xfrm>
            <a:off x="8980586" y="4656181"/>
            <a:ext cx="978930" cy="25517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200" dirty="0"/>
              <a:t>Time Gap</a:t>
            </a:r>
          </a:p>
        </p:txBody>
      </p: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D27FA2A6-9E48-DCBB-BE09-1D90CC9EDF7E}"/>
              </a:ext>
            </a:extLst>
          </p:cNvPr>
          <p:cNvCxnSpPr>
            <a:stCxn id="2052" idx="3"/>
            <a:endCxn id="2050" idx="1"/>
          </p:cNvCxnSpPr>
          <p:nvPr/>
        </p:nvCxnSpPr>
        <p:spPr>
          <a:xfrm>
            <a:off x="3094303" y="1054428"/>
            <a:ext cx="3252201" cy="10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AAC76635-42CC-C589-D82E-9FB0AF0E9B58}"/>
              </a:ext>
            </a:extLst>
          </p:cNvPr>
          <p:cNvCxnSpPr>
            <a:stCxn id="2050" idx="3"/>
            <a:endCxn id="2054" idx="1"/>
          </p:cNvCxnSpPr>
          <p:nvPr/>
        </p:nvCxnSpPr>
        <p:spPr>
          <a:xfrm flipV="1">
            <a:off x="7060020" y="1054427"/>
            <a:ext cx="2412816" cy="1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Box 109">
            <a:extLst>
              <a:ext uri="{FF2B5EF4-FFF2-40B4-BE49-F238E27FC236}">
                <a16:creationId xmlns:a16="http://schemas.microsoft.com/office/drawing/2014/main" id="{37A33D7E-F648-7730-3F94-27D0F6624FA9}"/>
              </a:ext>
            </a:extLst>
          </p:cNvPr>
          <p:cNvSpPr txBox="1"/>
          <p:nvPr/>
        </p:nvSpPr>
        <p:spPr>
          <a:xfrm>
            <a:off x="5573039" y="3322408"/>
            <a:ext cx="575291" cy="29372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1050" dirty="0"/>
              <a:t>Payer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AB919055-E81D-FE6E-C456-AFC8724D6DB3}"/>
              </a:ext>
            </a:extLst>
          </p:cNvPr>
          <p:cNvSpPr txBox="1"/>
          <p:nvPr/>
        </p:nvSpPr>
        <p:spPr>
          <a:xfrm>
            <a:off x="7535710" y="4362458"/>
            <a:ext cx="575291" cy="29372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1050" dirty="0"/>
              <a:t>Payer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26FB9FD5-352F-2CD9-6FEB-8039279842A7}"/>
              </a:ext>
            </a:extLst>
          </p:cNvPr>
          <p:cNvSpPr txBox="1"/>
          <p:nvPr/>
        </p:nvSpPr>
        <p:spPr>
          <a:xfrm>
            <a:off x="9598705" y="1292044"/>
            <a:ext cx="71351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July 5</a:t>
            </a:r>
            <a:r>
              <a:rPr lang="en-US" sz="1100" baseline="30000" dirty="0"/>
              <a:t>th</a:t>
            </a:r>
            <a:r>
              <a:rPr lang="en-US" sz="1100" dirty="0"/>
              <a:t> 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F81125F1-4BE3-BD0F-D03D-F38BBBAB48FD}"/>
              </a:ext>
            </a:extLst>
          </p:cNvPr>
          <p:cNvSpPr txBox="1"/>
          <p:nvPr/>
        </p:nvSpPr>
        <p:spPr>
          <a:xfrm>
            <a:off x="8175478" y="3248445"/>
            <a:ext cx="71351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July 5</a:t>
            </a:r>
            <a:r>
              <a:rPr lang="en-US" sz="1100" baseline="30000" dirty="0"/>
              <a:t>th</a:t>
            </a:r>
            <a:r>
              <a:rPr lang="en-US" sz="1100" dirty="0"/>
              <a:t> 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B158EB45-DF74-5CCA-9EC3-8D2F50A14D87}"/>
              </a:ext>
            </a:extLst>
          </p:cNvPr>
          <p:cNvSpPr txBox="1"/>
          <p:nvPr/>
        </p:nvSpPr>
        <p:spPr>
          <a:xfrm>
            <a:off x="10424434" y="4226491"/>
            <a:ext cx="71351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July 7</a:t>
            </a:r>
            <a:r>
              <a:rPr lang="en-US" sz="1100" baseline="30000" dirty="0"/>
              <a:t>th</a:t>
            </a:r>
            <a:r>
              <a:rPr lang="en-US" sz="1100" dirty="0"/>
              <a:t> </a:t>
            </a: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09C484EC-4332-C61D-6167-5E481A083B3F}"/>
              </a:ext>
            </a:extLst>
          </p:cNvPr>
          <p:cNvCxnSpPr/>
          <p:nvPr/>
        </p:nvCxnSpPr>
        <p:spPr>
          <a:xfrm>
            <a:off x="386843" y="2350606"/>
            <a:ext cx="11627948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TextBox 116">
            <a:extLst>
              <a:ext uri="{FF2B5EF4-FFF2-40B4-BE49-F238E27FC236}">
                <a16:creationId xmlns:a16="http://schemas.microsoft.com/office/drawing/2014/main" id="{41D407D5-12A2-D96B-09A9-F2C5237AA01F}"/>
              </a:ext>
            </a:extLst>
          </p:cNvPr>
          <p:cNvSpPr txBox="1"/>
          <p:nvPr/>
        </p:nvSpPr>
        <p:spPr>
          <a:xfrm>
            <a:off x="62471" y="38340"/>
            <a:ext cx="2096455" cy="3903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2000" b="1" dirty="0">
                <a:solidFill>
                  <a:schemeClr val="accent1"/>
                </a:solidFill>
              </a:rPr>
              <a:t>Ideal Scenario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7C2D2DCA-9694-35F3-36FC-6989187EB8FF}"/>
              </a:ext>
            </a:extLst>
          </p:cNvPr>
          <p:cNvSpPr txBox="1"/>
          <p:nvPr/>
        </p:nvSpPr>
        <p:spPr>
          <a:xfrm>
            <a:off x="62471" y="2378961"/>
            <a:ext cx="2358448" cy="35869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2000" b="1" dirty="0">
                <a:solidFill>
                  <a:schemeClr val="accent2"/>
                </a:solidFill>
              </a:rPr>
              <a:t>Out of Sequence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EE16F52A-6106-807A-E7C5-F639C2A75B57}"/>
              </a:ext>
            </a:extLst>
          </p:cNvPr>
          <p:cNvSpPr txBox="1"/>
          <p:nvPr/>
        </p:nvSpPr>
        <p:spPr>
          <a:xfrm>
            <a:off x="9431349" y="594717"/>
            <a:ext cx="816554" cy="26476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1050" b="1" dirty="0">
                <a:solidFill>
                  <a:schemeClr val="accent1"/>
                </a:solidFill>
              </a:rPr>
              <a:t>C </a:t>
            </a:r>
            <a:r>
              <a:rPr lang="en-US" sz="1050" b="1" dirty="0">
                <a:solidFill>
                  <a:schemeClr val="accent2"/>
                </a:solidFill>
              </a:rPr>
              <a:t>O </a:t>
            </a:r>
            <a:r>
              <a:rPr lang="en-US" sz="1050" b="1" dirty="0">
                <a:solidFill>
                  <a:schemeClr val="accent1"/>
                </a:solidFill>
              </a:rPr>
              <a:t>T </a:t>
            </a:r>
            <a:r>
              <a:rPr lang="en-US" sz="1050" b="1" dirty="0">
                <a:solidFill>
                  <a:schemeClr val="accent3"/>
                </a:solidFill>
              </a:rPr>
              <a:t>I </a:t>
            </a:r>
            <a:r>
              <a:rPr lang="en-US" sz="1050" b="1" dirty="0">
                <a:solidFill>
                  <a:schemeClr val="accent1"/>
                </a:solidFill>
              </a:rPr>
              <a:t>V I T </a:t>
            </a:r>
            <a:r>
              <a:rPr lang="en-US" sz="1050" b="1" dirty="0"/>
              <a:t>I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4B156E35-9ABA-BE45-F8FB-8AEC1475C614}"/>
              </a:ext>
            </a:extLst>
          </p:cNvPr>
          <p:cNvSpPr txBox="1"/>
          <p:nvPr/>
        </p:nvSpPr>
        <p:spPr>
          <a:xfrm>
            <a:off x="8063014" y="2550589"/>
            <a:ext cx="713516" cy="26476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 b="1" dirty="0">
                <a:solidFill>
                  <a:schemeClr val="accent1"/>
                </a:solidFill>
              </a:rPr>
              <a:t>C </a:t>
            </a:r>
            <a:r>
              <a:rPr lang="en-US" sz="1050" b="1" dirty="0">
                <a:solidFill>
                  <a:schemeClr val="accent2"/>
                </a:solidFill>
              </a:rPr>
              <a:t>O </a:t>
            </a:r>
            <a:r>
              <a:rPr lang="en-US" sz="1050" b="1" dirty="0">
                <a:solidFill>
                  <a:schemeClr val="accent1"/>
                </a:solidFill>
              </a:rPr>
              <a:t>T </a:t>
            </a:r>
            <a:r>
              <a:rPr lang="en-US" sz="1050" b="1" dirty="0">
                <a:solidFill>
                  <a:schemeClr val="accent3"/>
                </a:solidFill>
              </a:rPr>
              <a:t>I </a:t>
            </a:r>
            <a:r>
              <a:rPr lang="en-US" sz="1050" b="1" dirty="0">
                <a:solidFill>
                  <a:schemeClr val="accent1"/>
                </a:solidFill>
              </a:rPr>
              <a:t>V I T </a:t>
            </a:r>
            <a:r>
              <a:rPr lang="en-US" sz="1050" b="1" dirty="0"/>
              <a:t>I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D9E98336-AE0C-8667-245F-A1B7F825AFAB}"/>
              </a:ext>
            </a:extLst>
          </p:cNvPr>
          <p:cNvSpPr txBox="1"/>
          <p:nvPr/>
        </p:nvSpPr>
        <p:spPr>
          <a:xfrm>
            <a:off x="10246470" y="3534844"/>
            <a:ext cx="713516" cy="26476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 b="1" dirty="0">
                <a:solidFill>
                  <a:schemeClr val="accent1"/>
                </a:solidFill>
              </a:rPr>
              <a:t>C </a:t>
            </a:r>
            <a:r>
              <a:rPr lang="en-US" sz="1050" b="1" dirty="0">
                <a:solidFill>
                  <a:schemeClr val="accent2"/>
                </a:solidFill>
              </a:rPr>
              <a:t>O </a:t>
            </a:r>
            <a:r>
              <a:rPr lang="en-US" sz="1050" b="1" dirty="0">
                <a:solidFill>
                  <a:schemeClr val="accent1"/>
                </a:solidFill>
              </a:rPr>
              <a:t>T </a:t>
            </a:r>
            <a:r>
              <a:rPr lang="en-US" sz="1050" b="1" dirty="0">
                <a:solidFill>
                  <a:schemeClr val="accent3"/>
                </a:solidFill>
              </a:rPr>
              <a:t>I </a:t>
            </a:r>
            <a:r>
              <a:rPr lang="en-US" sz="1050" b="1" dirty="0">
                <a:solidFill>
                  <a:schemeClr val="accent1"/>
                </a:solidFill>
              </a:rPr>
              <a:t>V I T </a:t>
            </a:r>
            <a:r>
              <a:rPr lang="en-US" sz="1050" b="1" dirty="0"/>
              <a:t>I</a:t>
            </a:r>
          </a:p>
        </p:txBody>
      </p:sp>
      <p:sp>
        <p:nvSpPr>
          <p:cNvPr id="2049" name="TextBox 2048">
            <a:extLst>
              <a:ext uri="{FF2B5EF4-FFF2-40B4-BE49-F238E27FC236}">
                <a16:creationId xmlns:a16="http://schemas.microsoft.com/office/drawing/2014/main" id="{3CF4C619-4E88-8CA5-BCF6-9499DBC9A2D6}"/>
              </a:ext>
            </a:extLst>
          </p:cNvPr>
          <p:cNvSpPr txBox="1"/>
          <p:nvPr/>
        </p:nvSpPr>
        <p:spPr>
          <a:xfrm>
            <a:off x="241884" y="4471536"/>
            <a:ext cx="2152542" cy="1504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2000" b="1" dirty="0">
                <a:solidFill>
                  <a:schemeClr val="accent2"/>
                </a:solidFill>
              </a:rPr>
              <a:t>OOS </a:t>
            </a:r>
            <a:r>
              <a:rPr lang="en-US" sz="2000" b="1" dirty="0">
                <a:solidFill>
                  <a:schemeClr val="accent3"/>
                </a:solidFill>
              </a:rPr>
              <a:t>problem</a:t>
            </a:r>
          </a:p>
        </p:txBody>
      </p:sp>
      <p:sp>
        <p:nvSpPr>
          <p:cNvPr id="2051" name="TextBox 2050">
            <a:extLst>
              <a:ext uri="{FF2B5EF4-FFF2-40B4-BE49-F238E27FC236}">
                <a16:creationId xmlns:a16="http://schemas.microsoft.com/office/drawing/2014/main" id="{302114BE-D970-4032-E694-07BD443ADEE5}"/>
              </a:ext>
            </a:extLst>
          </p:cNvPr>
          <p:cNvSpPr txBox="1"/>
          <p:nvPr/>
        </p:nvSpPr>
        <p:spPr>
          <a:xfrm>
            <a:off x="2735812" y="4882915"/>
            <a:ext cx="1686944" cy="11103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1200" dirty="0"/>
              <a:t>Incorrect Payments</a:t>
            </a:r>
          </a:p>
          <a:p>
            <a:pPr algn="l"/>
            <a:endParaRPr lang="en-US" sz="1400" dirty="0"/>
          </a:p>
        </p:txBody>
      </p:sp>
      <p:pic>
        <p:nvPicPr>
          <p:cNvPr id="2055" name="Graphic 2054" descr="Clipboard with solid fill">
            <a:extLst>
              <a:ext uri="{FF2B5EF4-FFF2-40B4-BE49-F238E27FC236}">
                <a16:creationId xmlns:a16="http://schemas.microsoft.com/office/drawing/2014/main" id="{43A1CF2D-E2F8-71D1-E26E-90151FB575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479537" y="5679444"/>
            <a:ext cx="315891" cy="315891"/>
          </a:xfrm>
          <a:prstGeom prst="rect">
            <a:avLst/>
          </a:prstGeom>
        </p:spPr>
      </p:pic>
      <p:pic>
        <p:nvPicPr>
          <p:cNvPr id="2059" name="Graphic 2058" descr="Flying Money with solid fill">
            <a:extLst>
              <a:ext uri="{FF2B5EF4-FFF2-40B4-BE49-F238E27FC236}">
                <a16:creationId xmlns:a16="http://schemas.microsoft.com/office/drawing/2014/main" id="{D8ED7991-7B7C-0D5A-9BF7-1D36DF9916F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463362" y="5251041"/>
            <a:ext cx="315891" cy="315891"/>
          </a:xfrm>
          <a:prstGeom prst="rect">
            <a:avLst/>
          </a:prstGeom>
        </p:spPr>
      </p:pic>
      <p:pic>
        <p:nvPicPr>
          <p:cNvPr id="2067" name="Graphic 2066" descr="Warning with solid fill">
            <a:extLst>
              <a:ext uri="{FF2B5EF4-FFF2-40B4-BE49-F238E27FC236}">
                <a16:creationId xmlns:a16="http://schemas.microsoft.com/office/drawing/2014/main" id="{5279BD33-8702-0ACC-BA7B-086D78763A6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463362" y="4822638"/>
            <a:ext cx="315891" cy="315891"/>
          </a:xfrm>
          <a:prstGeom prst="rect">
            <a:avLst/>
          </a:prstGeom>
        </p:spPr>
      </p:pic>
      <p:sp>
        <p:nvSpPr>
          <p:cNvPr id="2068" name="TextBox 2067">
            <a:extLst>
              <a:ext uri="{FF2B5EF4-FFF2-40B4-BE49-F238E27FC236}">
                <a16:creationId xmlns:a16="http://schemas.microsoft.com/office/drawing/2014/main" id="{10555FC6-AD32-3501-4508-40921F5C9529}"/>
              </a:ext>
            </a:extLst>
          </p:cNvPr>
          <p:cNvSpPr txBox="1"/>
          <p:nvPr/>
        </p:nvSpPr>
        <p:spPr>
          <a:xfrm>
            <a:off x="2744137" y="5285426"/>
            <a:ext cx="1519895" cy="14516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200" dirty="0"/>
              <a:t>Lost Savings</a:t>
            </a:r>
          </a:p>
        </p:txBody>
      </p:sp>
      <p:sp>
        <p:nvSpPr>
          <p:cNvPr id="2073" name="TextBox 2072">
            <a:extLst>
              <a:ext uri="{FF2B5EF4-FFF2-40B4-BE49-F238E27FC236}">
                <a16:creationId xmlns:a16="http://schemas.microsoft.com/office/drawing/2014/main" id="{66A29F85-1D0F-2601-DD43-AEF0E3661964}"/>
              </a:ext>
            </a:extLst>
          </p:cNvPr>
          <p:cNvSpPr txBox="1"/>
          <p:nvPr/>
        </p:nvSpPr>
        <p:spPr>
          <a:xfrm>
            <a:off x="2744137" y="5726579"/>
            <a:ext cx="1748529" cy="8037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200" dirty="0"/>
              <a:t>Operational Burden</a:t>
            </a:r>
          </a:p>
        </p:txBody>
      </p:sp>
      <p:cxnSp>
        <p:nvCxnSpPr>
          <p:cNvPr id="2075" name="Straight Arrow Connector 2074">
            <a:extLst>
              <a:ext uri="{FF2B5EF4-FFF2-40B4-BE49-F238E27FC236}">
                <a16:creationId xmlns:a16="http://schemas.microsoft.com/office/drawing/2014/main" id="{9EFE5370-D33E-A2E5-AE05-D245B93950C9}"/>
              </a:ext>
            </a:extLst>
          </p:cNvPr>
          <p:cNvCxnSpPr>
            <a:cxnSpLocks/>
          </p:cNvCxnSpPr>
          <p:nvPr/>
        </p:nvCxnSpPr>
        <p:spPr>
          <a:xfrm flipV="1">
            <a:off x="6173630" y="2988913"/>
            <a:ext cx="1848312" cy="5724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9" name="Straight Arrow Connector 2078">
            <a:extLst>
              <a:ext uri="{FF2B5EF4-FFF2-40B4-BE49-F238E27FC236}">
                <a16:creationId xmlns:a16="http://schemas.microsoft.com/office/drawing/2014/main" id="{132FE485-AE37-2FF3-8ED7-62500F87BC71}"/>
              </a:ext>
            </a:extLst>
          </p:cNvPr>
          <p:cNvCxnSpPr>
            <a:stCxn id="72" idx="3"/>
            <a:endCxn id="83" idx="1"/>
          </p:cNvCxnSpPr>
          <p:nvPr/>
        </p:nvCxnSpPr>
        <p:spPr>
          <a:xfrm flipV="1">
            <a:off x="8163535" y="4011473"/>
            <a:ext cx="2154367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30702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9" grpId="0"/>
      <p:bldP spid="33" grpId="0"/>
      <p:bldP spid="35" grpId="0"/>
      <p:bldP spid="42" grpId="0"/>
      <p:bldP spid="49" grpId="0"/>
      <p:bldP spid="51" grpId="0"/>
      <p:bldP spid="52" grpId="0"/>
      <p:bldP spid="59" grpId="0"/>
      <p:bldP spid="71" grpId="0"/>
      <p:bldP spid="101" grpId="0"/>
      <p:bldP spid="110" grpId="0"/>
      <p:bldP spid="111" grpId="0"/>
      <p:bldP spid="112" grpId="0"/>
      <p:bldP spid="113" grpId="0"/>
      <p:bldP spid="114" grpId="0"/>
      <p:bldP spid="118" grpId="0"/>
      <p:bldP spid="119" grpId="0"/>
      <p:bldP spid="120" grpId="0"/>
      <p:bldP spid="121" grpId="0"/>
      <p:bldP spid="2049" grpId="0"/>
      <p:bldP spid="2051" grpId="0"/>
      <p:bldP spid="2068" grpId="0"/>
      <p:bldP spid="207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4270BD1-D910-33B4-D643-41F513506E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15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B3970F0-C8F8-0878-9D15-54C26D7DA6EE}"/>
              </a:ext>
            </a:extLst>
          </p:cNvPr>
          <p:cNvSpPr txBox="1"/>
          <p:nvPr/>
        </p:nvSpPr>
        <p:spPr>
          <a:xfrm>
            <a:off x="417897" y="272738"/>
            <a:ext cx="105843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400" b="1">
                <a:solidFill>
                  <a:schemeClr val="accent1"/>
                </a:solidFill>
                <a:latin typeface="Montserrat" panose="00000500000000000000" pitchFamily="2" charset="0"/>
              </a:defRPr>
            </a:lvl1pPr>
          </a:lstStyle>
          <a:p>
            <a:r>
              <a:rPr lang="en-US" altLang="en-US"/>
              <a:t>Objective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0766A762-C830-A6CF-9CAE-B7A834E83091}"/>
              </a:ext>
            </a:extLst>
          </p:cNvPr>
          <p:cNvSpPr/>
          <p:nvPr/>
        </p:nvSpPr>
        <p:spPr>
          <a:xfrm>
            <a:off x="621916" y="1424956"/>
            <a:ext cx="3108960" cy="1316736"/>
          </a:xfrm>
          <a:prstGeom prst="roundRect">
            <a:avLst/>
          </a:prstGeom>
          <a:ln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/>
              <a:t>Understanding &amp; Quantify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Analyze OOS claims impac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Estimate business value ($)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96C4440-3B8A-280A-8A70-C2C145604B59}"/>
              </a:ext>
            </a:extLst>
          </p:cNvPr>
          <p:cNvGrpSpPr/>
          <p:nvPr/>
        </p:nvGrpSpPr>
        <p:grpSpPr>
          <a:xfrm>
            <a:off x="8178936" y="1424956"/>
            <a:ext cx="2978880" cy="1316736"/>
            <a:chOff x="8023416" y="1865376"/>
            <a:chExt cx="2978880" cy="131673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6BF5DBA4-0CD9-D0FB-9241-C2FE0C367C77}"/>
                </a:ext>
              </a:extLst>
            </p:cNvPr>
            <p:cNvSpPr/>
            <p:nvPr/>
          </p:nvSpPr>
          <p:spPr>
            <a:xfrm>
              <a:off x="8023416" y="1865376"/>
              <a:ext cx="2978880" cy="1316736"/>
            </a:xfrm>
            <a:prstGeom prst="round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200000"/>
                </a:lnSpc>
              </a:pPr>
              <a:r>
                <a:rPr lang="en-US" sz="1600">
                  <a:solidFill>
                    <a:schemeClr val="bg1"/>
                  </a:solidFill>
                </a:rPr>
                <a:t>Future Direction</a:t>
              </a:r>
            </a:p>
            <a:p>
              <a:pPr marL="171450" indent="-171450" algn="ctr">
                <a:buFont typeface="Arial" panose="020B0604020202020204" pitchFamily="34" charset="0"/>
                <a:buChar char="•"/>
              </a:pPr>
              <a:r>
                <a:rPr lang="en-US" sz="1200"/>
                <a:t>Explore predictive analytics for proactive detection</a:t>
              </a:r>
            </a:p>
            <a:p>
              <a:pPr algn="ctr"/>
              <a:endParaRPr lang="en-US" sz="160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3B0D7BE-427A-3B95-7C1A-C4F3641A14D5}"/>
                </a:ext>
              </a:extLst>
            </p:cNvPr>
            <p:cNvSpPr txBox="1"/>
            <p:nvPr/>
          </p:nvSpPr>
          <p:spPr>
            <a:xfrm>
              <a:off x="8158734" y="2083324"/>
              <a:ext cx="54635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/>
                <a:t>🤖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C8053E9-598C-EA8B-4A29-3B4C46A579B0}"/>
              </a:ext>
            </a:extLst>
          </p:cNvPr>
          <p:cNvGrpSpPr/>
          <p:nvPr/>
        </p:nvGrpSpPr>
        <p:grpSpPr>
          <a:xfrm>
            <a:off x="4400426" y="1424956"/>
            <a:ext cx="3108960" cy="1316736"/>
            <a:chOff x="4400426" y="1865376"/>
            <a:chExt cx="3108960" cy="1316736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F23ED6-94D8-40D4-FA81-F2245ECB2FBC}"/>
                </a:ext>
              </a:extLst>
            </p:cNvPr>
            <p:cNvSpPr/>
            <p:nvPr/>
          </p:nvSpPr>
          <p:spPr>
            <a:xfrm>
              <a:off x="4400426" y="1865376"/>
              <a:ext cx="3108960" cy="1316736"/>
            </a:xfrm>
            <a:prstGeom prst="roundRect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200000"/>
                </a:lnSpc>
              </a:pPr>
              <a:r>
                <a:rPr lang="en-US" sz="1600">
                  <a:solidFill>
                    <a:schemeClr val="bg1"/>
                  </a:solidFill>
                </a:rPr>
                <a:t>Assess Feasibility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/>
                <a:t>Operational &amp; Financial viability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/>
                <a:t>Support go/no-go decision</a:t>
              </a:r>
              <a:endParaRPr lang="en-US" sz="1400"/>
            </a:p>
            <a:p>
              <a:pPr algn="ctr"/>
              <a:endParaRPr lang="en-US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F21B01A-C4A9-A00D-D9A0-90A5E792556D}"/>
                </a:ext>
              </a:extLst>
            </p:cNvPr>
            <p:cNvSpPr txBox="1"/>
            <p:nvPr/>
          </p:nvSpPr>
          <p:spPr>
            <a:xfrm>
              <a:off x="4592574" y="2083324"/>
              <a:ext cx="50063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/>
                <a:t>✅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701FC953-875E-4F58-5C5C-50FE22EAF4AF}"/>
              </a:ext>
            </a:extLst>
          </p:cNvPr>
          <p:cNvSpPr txBox="1"/>
          <p:nvPr/>
        </p:nvSpPr>
        <p:spPr>
          <a:xfrm>
            <a:off x="417896" y="3570674"/>
            <a:ext cx="105843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400" b="1">
                <a:solidFill>
                  <a:schemeClr val="accent1"/>
                </a:solidFill>
                <a:latin typeface="Montserrat" panose="00000500000000000000" pitchFamily="2" charset="0"/>
              </a:defRPr>
            </a:lvl1pPr>
          </a:lstStyle>
          <a:p>
            <a:r>
              <a:rPr lang="en-US" altLang="en-US"/>
              <a:t>Data Sources</a:t>
            </a:r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9F92D47D-237A-6867-299A-FB9EF4879236}"/>
              </a:ext>
            </a:extLst>
          </p:cNvPr>
          <p:cNvSpPr/>
          <p:nvPr/>
        </p:nvSpPr>
        <p:spPr>
          <a:xfrm>
            <a:off x="3831336" y="2012236"/>
            <a:ext cx="502920" cy="17318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2EF71A1F-E612-84FF-4823-C4CB8F0A95A7}"/>
              </a:ext>
            </a:extLst>
          </p:cNvPr>
          <p:cNvSpPr/>
          <p:nvPr/>
        </p:nvSpPr>
        <p:spPr>
          <a:xfrm>
            <a:off x="7575556" y="2012236"/>
            <a:ext cx="502920" cy="17318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CB28F4D5-68C9-D657-2069-16B49FEC8015}"/>
              </a:ext>
            </a:extLst>
          </p:cNvPr>
          <p:cNvGraphicFramePr>
            <a:graphicFrameLocks noGrp="1"/>
          </p:cNvGraphicFramePr>
          <p:nvPr/>
        </p:nvGraphicFramePr>
        <p:xfrm>
          <a:off x="621521" y="4290554"/>
          <a:ext cx="10536295" cy="19806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8408">
                  <a:extLst>
                    <a:ext uri="{9D8B030D-6E8A-4147-A177-3AD203B41FA5}">
                      <a16:colId xmlns:a16="http://schemas.microsoft.com/office/drawing/2014/main" val="3370292757"/>
                    </a:ext>
                  </a:extLst>
                </a:gridCol>
                <a:gridCol w="1012937">
                  <a:extLst>
                    <a:ext uri="{9D8B030D-6E8A-4147-A177-3AD203B41FA5}">
                      <a16:colId xmlns:a16="http://schemas.microsoft.com/office/drawing/2014/main" val="56091187"/>
                    </a:ext>
                  </a:extLst>
                </a:gridCol>
                <a:gridCol w="1083222">
                  <a:extLst>
                    <a:ext uri="{9D8B030D-6E8A-4147-A177-3AD203B41FA5}">
                      <a16:colId xmlns:a16="http://schemas.microsoft.com/office/drawing/2014/main" val="3559481428"/>
                    </a:ext>
                  </a:extLst>
                </a:gridCol>
                <a:gridCol w="1785956">
                  <a:extLst>
                    <a:ext uri="{9D8B030D-6E8A-4147-A177-3AD203B41FA5}">
                      <a16:colId xmlns:a16="http://schemas.microsoft.com/office/drawing/2014/main" val="3674059778"/>
                    </a:ext>
                  </a:extLst>
                </a:gridCol>
                <a:gridCol w="1916182">
                  <a:extLst>
                    <a:ext uri="{9D8B030D-6E8A-4147-A177-3AD203B41FA5}">
                      <a16:colId xmlns:a16="http://schemas.microsoft.com/office/drawing/2014/main" val="4231529911"/>
                    </a:ext>
                  </a:extLst>
                </a:gridCol>
                <a:gridCol w="3469590">
                  <a:extLst>
                    <a:ext uri="{9D8B030D-6E8A-4147-A177-3AD203B41FA5}">
                      <a16:colId xmlns:a16="http://schemas.microsoft.com/office/drawing/2014/main" val="3810889929"/>
                    </a:ext>
                  </a:extLst>
                </a:gridCol>
              </a:tblGrid>
              <a:tr h="407970">
                <a:tc>
                  <a:txBody>
                    <a:bodyPr/>
                    <a:lstStyle/>
                    <a:p>
                      <a:r>
                        <a:rPr lang="en-US"/>
                        <a:t>Platfor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Client/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OOS Claim Cou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Estimated Saving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Key Insigh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25899780"/>
                  </a:ext>
                </a:extLst>
              </a:tr>
              <a:tr h="864009">
                <a:tc>
                  <a:txBody>
                    <a:bodyPr/>
                    <a:lstStyle/>
                    <a:p>
                      <a:r>
                        <a:rPr lang="en-US"/>
                        <a:t>CV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Sep’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HCS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3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6M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$7.4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/>
                        <a:t>~31% </a:t>
                      </a:r>
                      <a:r>
                        <a:rPr lang="en-US"/>
                        <a:t>of the OOS edits identified are in Day 1 – 3 constitute </a:t>
                      </a:r>
                      <a:r>
                        <a:rPr lang="en-US">
                          <a:solidFill>
                            <a:schemeClr val="accent3"/>
                          </a:solidFill>
                        </a:rPr>
                        <a:t>$1M </a:t>
                      </a:r>
                      <a:r>
                        <a:rPr lang="en-US">
                          <a:solidFill>
                            <a:schemeClr val="tx1"/>
                          </a:solidFill>
                        </a:rPr>
                        <a:t>Estimated Saving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7476742"/>
                  </a:ext>
                </a:extLst>
              </a:tr>
              <a:tr h="681249">
                <a:tc>
                  <a:txBody>
                    <a:bodyPr/>
                    <a:lstStyle/>
                    <a:p>
                      <a:r>
                        <a:rPr lang="en-US"/>
                        <a:t>ICMS Production RV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Sep’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All PPM ICM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8.7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$960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b="1"/>
                        <a:t>~12% </a:t>
                      </a:r>
                      <a:r>
                        <a:rPr lang="en-US"/>
                        <a:t>of the OOS edits identified are in Day 1 – 3 constitute </a:t>
                      </a:r>
                      <a:r>
                        <a:rPr lang="en-US">
                          <a:solidFill>
                            <a:schemeClr val="accent3"/>
                          </a:solidFill>
                        </a:rPr>
                        <a:t>$95M </a:t>
                      </a:r>
                      <a:r>
                        <a:rPr lang="en-US">
                          <a:solidFill>
                            <a:schemeClr val="tx1"/>
                          </a:solidFill>
                        </a:rPr>
                        <a:t>Estimated Savings</a:t>
                      </a:r>
                      <a:endParaRPr lang="en-US">
                        <a:solidFill>
                          <a:schemeClr val="accent3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587833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80543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B2E206-AC6C-BB87-63E9-4878775AF5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C638A32-29C6-5276-A445-94A60A8FEB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16</a:t>
            </a:fld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037DA3A-B6AB-1BE6-6C05-12A01DE19F4D}"/>
              </a:ext>
            </a:extLst>
          </p:cNvPr>
          <p:cNvSpPr txBox="1"/>
          <p:nvPr/>
        </p:nvSpPr>
        <p:spPr>
          <a:xfrm>
            <a:off x="227424" y="97226"/>
            <a:ext cx="110808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400" b="1">
                <a:solidFill>
                  <a:schemeClr val="accent1"/>
                </a:solidFill>
                <a:latin typeface="Montserrat" panose="00000500000000000000" pitchFamily="2" charset="0"/>
              </a:defRPr>
            </a:lvl1pPr>
          </a:lstStyle>
          <a:p>
            <a:r>
              <a:rPr lang="en-US" dirty="0"/>
              <a:t>Pending claims processing for 1-3 days can results in an </a:t>
            </a:r>
            <a:r>
              <a:rPr lang="en-US" dirty="0">
                <a:solidFill>
                  <a:schemeClr val="accent3"/>
                </a:solidFill>
              </a:rPr>
              <a:t>~$95M </a:t>
            </a:r>
            <a:r>
              <a:rPr lang="en-US" dirty="0"/>
              <a:t>in</a:t>
            </a:r>
            <a:r>
              <a:rPr lang="en-US" dirty="0">
                <a:solidFill>
                  <a:schemeClr val="accent3"/>
                </a:solidFill>
              </a:rPr>
              <a:t> </a:t>
            </a:r>
            <a:r>
              <a:rPr lang="en-US" dirty="0"/>
              <a:t>estimated savings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D451CE8-0645-F4DE-7043-3D2A21B5890C}"/>
              </a:ext>
            </a:extLst>
          </p:cNvPr>
          <p:cNvSpPr/>
          <p:nvPr/>
        </p:nvSpPr>
        <p:spPr>
          <a:xfrm>
            <a:off x="297556" y="5390756"/>
            <a:ext cx="137160" cy="1371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3" name="TextBox 8">
            <a:extLst>
              <a:ext uri="{FF2B5EF4-FFF2-40B4-BE49-F238E27FC236}">
                <a16:creationId xmlns:a16="http://schemas.microsoft.com/office/drawing/2014/main" id="{D5B80D2A-F5D7-D153-F637-140D73853FB0}"/>
              </a:ext>
            </a:extLst>
          </p:cNvPr>
          <p:cNvSpPr txBox="1"/>
          <p:nvPr/>
        </p:nvSpPr>
        <p:spPr>
          <a:xfrm>
            <a:off x="434716" y="5343881"/>
            <a:ext cx="1090352" cy="23090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/>
              <a:t>Edi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AC91F1F-674D-B8E8-8D58-134DC99242F8}"/>
              </a:ext>
            </a:extLst>
          </p:cNvPr>
          <p:cNvSpPr/>
          <p:nvPr/>
        </p:nvSpPr>
        <p:spPr>
          <a:xfrm>
            <a:off x="227424" y="3183890"/>
            <a:ext cx="137160" cy="1371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6" name="TextBox 8">
            <a:extLst>
              <a:ext uri="{FF2B5EF4-FFF2-40B4-BE49-F238E27FC236}">
                <a16:creationId xmlns:a16="http://schemas.microsoft.com/office/drawing/2014/main" id="{C95E1AF0-6B9B-6968-351B-413647FC5083}"/>
              </a:ext>
            </a:extLst>
          </p:cNvPr>
          <p:cNvSpPr txBox="1"/>
          <p:nvPr/>
        </p:nvSpPr>
        <p:spPr>
          <a:xfrm>
            <a:off x="310502" y="3075847"/>
            <a:ext cx="1291382" cy="35315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dirty="0"/>
              <a:t>Est. Savings Amou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D8AAE85-B17A-A67C-5CE0-B6A3113E24AC}"/>
              </a:ext>
            </a:extLst>
          </p:cNvPr>
          <p:cNvSpPr/>
          <p:nvPr/>
        </p:nvSpPr>
        <p:spPr>
          <a:xfrm>
            <a:off x="1168957" y="1646864"/>
            <a:ext cx="4927043" cy="388105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60C1EB0B-8B3F-5CF0-78C6-551AC54D598E}"/>
              </a:ext>
            </a:extLst>
          </p:cNvPr>
          <p:cNvGraphicFramePr/>
          <p:nvPr/>
        </p:nvGraphicFramePr>
        <p:xfrm>
          <a:off x="883693" y="3186577"/>
          <a:ext cx="1072425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722A7BC7-2F81-F013-98D8-812C7148835E}"/>
              </a:ext>
            </a:extLst>
          </p:cNvPr>
          <p:cNvSpPr txBox="1"/>
          <p:nvPr/>
        </p:nvSpPr>
        <p:spPr>
          <a:xfrm>
            <a:off x="1179811" y="1747370"/>
            <a:ext cx="1829203" cy="79328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 dirty="0"/>
              <a:t>Threshold : </a:t>
            </a:r>
          </a:p>
          <a:p>
            <a:pPr algn="l"/>
            <a:r>
              <a:rPr lang="en-US" sz="1000" dirty="0"/>
              <a:t>Covering ~ 12% edits volume with 10% Estimated savings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7EF6027-9FD4-173B-72FC-76D18EC3B8CE}"/>
              </a:ext>
            </a:extLst>
          </p:cNvPr>
          <p:cNvGraphicFramePr/>
          <p:nvPr/>
        </p:nvGraphicFramePr>
        <p:xfrm>
          <a:off x="883693" y="595777"/>
          <a:ext cx="10724250" cy="28332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8447775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131E216-2D94-E834-93D1-D5FE3A57D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9892" y="6532981"/>
            <a:ext cx="484909" cy="27432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BC64C03-9EC0-4B7E-8FE4-24DBF62E63E5}" type="slidenum">
              <a:rPr lang="en-US" smtClean="0"/>
              <a:pPr>
                <a:spcAft>
                  <a:spcPts val="600"/>
                </a:spcAft>
              </a:pPr>
              <a:t>17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A6CE646-53C6-0E61-802A-041A9D7CE5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4745" y="981592"/>
            <a:ext cx="11520055" cy="42960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en-US" b="1" u="sng" dirty="0">
                <a:solidFill>
                  <a:srgbClr val="30006F"/>
                </a:solidFill>
              </a:rPr>
              <a:t>Legal IQ</a:t>
            </a:r>
          </a:p>
          <a:p>
            <a:r>
              <a:rPr lang="en-US" dirty="0">
                <a:solidFill>
                  <a:srgbClr val="30006F"/>
                </a:solidFill>
                <a:latin typeface="+mn-lt"/>
              </a:rPr>
              <a:t>Continue monitoring the solution in production</a:t>
            </a:r>
          </a:p>
          <a:p>
            <a:r>
              <a:rPr lang="en-US" dirty="0">
                <a:solidFill>
                  <a:srgbClr val="30006F"/>
                </a:solidFill>
                <a:latin typeface="+mn-lt"/>
              </a:rPr>
              <a:t>D</a:t>
            </a:r>
            <a:r>
              <a:rPr lang="en-US" dirty="0">
                <a:latin typeface="+mn-lt"/>
              </a:rPr>
              <a:t>evelop a Generative AI chatbot that interacts with legislative websites</a:t>
            </a:r>
            <a:r>
              <a:rPr lang="en-US" dirty="0">
                <a:solidFill>
                  <a:srgbClr val="30006F"/>
                </a:solidFill>
                <a:latin typeface="+mn-lt"/>
              </a:rPr>
              <a:t> </a:t>
            </a:r>
            <a:r>
              <a:rPr lang="en-US" dirty="0">
                <a:latin typeface="+mn-lt"/>
              </a:rPr>
              <a:t>and answers questions based on its content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u="sng" dirty="0">
                <a:solidFill>
                  <a:srgbClr val="30006F"/>
                </a:solidFill>
              </a:rPr>
              <a:t>Out Of Sequence</a:t>
            </a:r>
          </a:p>
          <a:p>
            <a:r>
              <a:rPr lang="en-US" dirty="0">
                <a:solidFill>
                  <a:srgbClr val="30006F"/>
                </a:solidFill>
                <a:latin typeface="+mn-lt"/>
              </a:rPr>
              <a:t>Continue performing OOS data analysis to help estimate the </a:t>
            </a:r>
            <a:r>
              <a:rPr lang="en-US">
                <a:solidFill>
                  <a:srgbClr val="30006F"/>
                </a:solidFill>
                <a:latin typeface="+mn-lt"/>
              </a:rPr>
              <a:t>potential sizing </a:t>
            </a:r>
            <a:endParaRPr lang="en-US" dirty="0">
              <a:solidFill>
                <a:srgbClr val="30006F"/>
              </a:solidFill>
              <a:latin typeface="+mn-lt"/>
            </a:endParaRPr>
          </a:p>
          <a:p>
            <a:r>
              <a:rPr lang="en-US" dirty="0">
                <a:solidFill>
                  <a:srgbClr val="30006F"/>
                </a:solidFill>
                <a:latin typeface="+mn-lt"/>
              </a:rPr>
              <a:t>AI/ML model to predict OOS claims proactively to help reduce lost savings</a:t>
            </a:r>
          </a:p>
          <a:p>
            <a:endParaRPr lang="en-US" b="1" dirty="0">
              <a:solidFill>
                <a:srgbClr val="30006F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FC1407F-6BE6-312A-B53E-49D8CFB28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15" y="50699"/>
            <a:ext cx="11274552" cy="340115"/>
          </a:xfrm>
        </p:spPr>
        <p:txBody>
          <a:bodyPr anchor="t">
            <a:normAutofit/>
          </a:bodyPr>
          <a:lstStyle/>
          <a:p>
            <a:r>
              <a:rPr lang="en-US" sz="2400" dirty="0"/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16498315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EA14E9-7CA3-EF13-1E5C-A02C4B087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18</a:t>
            </a:fld>
            <a:endParaRPr lang="en-US"/>
          </a:p>
        </p:txBody>
      </p:sp>
      <p:sp>
        <p:nvSpPr>
          <p:cNvPr id="3" name="Title 1" descr="Title Block">
            <a:extLst>
              <a:ext uri="{FF2B5EF4-FFF2-40B4-BE49-F238E27FC236}">
                <a16:creationId xmlns:a16="http://schemas.microsoft.com/office/drawing/2014/main" id="{8A2170E9-B7E7-A6D1-DFC5-6447B6E4811F}"/>
              </a:ext>
            </a:extLst>
          </p:cNvPr>
          <p:cNvSpPr txBox="1">
            <a:spLocks/>
          </p:cNvSpPr>
          <p:nvPr/>
        </p:nvSpPr>
        <p:spPr>
          <a:xfrm>
            <a:off x="230863" y="137682"/>
            <a:ext cx="11277600" cy="44447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2000" b="1"/>
              <a:t>Lessons Learned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91F80A8-04B0-9ECA-67CD-E91B8828182F}"/>
              </a:ext>
            </a:extLst>
          </p:cNvPr>
          <p:cNvSpPr txBox="1"/>
          <p:nvPr/>
        </p:nvSpPr>
        <p:spPr>
          <a:xfrm>
            <a:off x="297386" y="3165588"/>
            <a:ext cx="3311645" cy="61327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Application of academic knowledg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4FA203-8266-8638-1E08-B94B6131CD94}"/>
              </a:ext>
            </a:extLst>
          </p:cNvPr>
          <p:cNvSpPr txBox="1"/>
          <p:nvPr/>
        </p:nvSpPr>
        <p:spPr>
          <a:xfrm>
            <a:off x="5168359" y="3165589"/>
            <a:ext cx="1782854" cy="44447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ollabor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BB6260D-F26C-859B-D4CE-45AD4F073E6D}"/>
              </a:ext>
            </a:extLst>
          </p:cNvPr>
          <p:cNvSpPr txBox="1"/>
          <p:nvPr/>
        </p:nvSpPr>
        <p:spPr>
          <a:xfrm>
            <a:off x="8438660" y="3165589"/>
            <a:ext cx="3455406" cy="61327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Adaptability &amp; Continuous Learning</a:t>
            </a:r>
          </a:p>
        </p:txBody>
      </p:sp>
      <p:pic>
        <p:nvPicPr>
          <p:cNvPr id="1026" name="Picture 2" descr="Icon&#10;&#10;Description automatically generated">
            <a:extLst>
              <a:ext uri="{FF2B5EF4-FFF2-40B4-BE49-F238E27FC236}">
                <a16:creationId xmlns:a16="http://schemas.microsoft.com/office/drawing/2014/main" id="{8A835538-F2C8-868A-4075-3D5CF8570E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389" y="1101259"/>
            <a:ext cx="1691640" cy="169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con&#10;&#10;Description automatically generated">
            <a:extLst>
              <a:ext uri="{FF2B5EF4-FFF2-40B4-BE49-F238E27FC236}">
                <a16:creationId xmlns:a16="http://schemas.microsoft.com/office/drawing/2014/main" id="{18A94CD1-4505-38CD-2392-BDADA75D8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966" y="1101259"/>
            <a:ext cx="1691640" cy="169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con&#10;&#10;Description automatically generated">
            <a:extLst>
              <a:ext uri="{FF2B5EF4-FFF2-40B4-BE49-F238E27FC236}">
                <a16:creationId xmlns:a16="http://schemas.microsoft.com/office/drawing/2014/main" id="{C9B1AD82-1EFE-0D6E-0676-D8ABF8BC43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0543" y="1101259"/>
            <a:ext cx="1691640" cy="169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 descr="Title Block">
            <a:extLst>
              <a:ext uri="{FF2B5EF4-FFF2-40B4-BE49-F238E27FC236}">
                <a16:creationId xmlns:a16="http://schemas.microsoft.com/office/drawing/2014/main" id="{82A8CEB4-3EA6-8098-AF1A-F6A2703876A6}"/>
              </a:ext>
            </a:extLst>
          </p:cNvPr>
          <p:cNvSpPr txBox="1">
            <a:spLocks/>
          </p:cNvSpPr>
          <p:nvPr/>
        </p:nvSpPr>
        <p:spPr>
          <a:xfrm>
            <a:off x="230863" y="4596028"/>
            <a:ext cx="11277600" cy="44447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2000" b="1" dirty="0"/>
              <a:t>Feedback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A9D16F-4EC6-0FF2-6EC7-0098C50E720E}"/>
              </a:ext>
            </a:extLst>
          </p:cNvPr>
          <p:cNvSpPr txBox="1"/>
          <p:nvPr/>
        </p:nvSpPr>
        <p:spPr>
          <a:xfrm>
            <a:off x="149382" y="5088039"/>
            <a:ext cx="6473227" cy="7448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dirty="0">
                <a:solidFill>
                  <a:schemeClr val="accent3"/>
                </a:solidFill>
              </a:rPr>
              <a:t>Centralized Access and Tools Checklist for Interns</a:t>
            </a:r>
          </a:p>
        </p:txBody>
      </p:sp>
    </p:spTree>
    <p:extLst>
      <p:ext uri="{BB962C8B-B14F-4D97-AF65-F5344CB8AC3E}">
        <p14:creationId xmlns:p14="http://schemas.microsoft.com/office/powerpoint/2010/main" val="38494801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4A51B0-CCE7-E65C-F108-292267D01257}"/>
              </a:ext>
            </a:extLst>
          </p:cNvPr>
          <p:cNvSpPr/>
          <p:nvPr/>
        </p:nvSpPr>
        <p:spPr>
          <a:xfrm>
            <a:off x="0" y="1"/>
            <a:ext cx="12192000" cy="6477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137E6B-0310-42FE-8BE9-AAEB68771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19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B61A7F0-2B31-0AF3-CC2D-28634336DF8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62597" y="1305098"/>
            <a:ext cx="3866806" cy="3866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184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87DDD9-AEA0-9F6C-0CC4-90490A561E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E41C6EE-8AB3-9D39-E686-F2184A7092F7}"/>
              </a:ext>
            </a:extLst>
          </p:cNvPr>
          <p:cNvSpPr/>
          <p:nvPr/>
        </p:nvSpPr>
        <p:spPr>
          <a:xfrm>
            <a:off x="0" y="0"/>
            <a:ext cx="2477193" cy="64691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AEA5802-9663-A59B-6F50-15797AF97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2</a:t>
            </a:fld>
            <a:endParaRPr lang="en-US"/>
          </a:p>
        </p:txBody>
      </p:sp>
      <p:graphicFrame>
        <p:nvGraphicFramePr>
          <p:cNvPr id="30" name="Agenda Table">
            <a:extLst>
              <a:ext uri="{FF2B5EF4-FFF2-40B4-BE49-F238E27FC236}">
                <a16:creationId xmlns:a16="http://schemas.microsoft.com/office/drawing/2014/main" id="{E3C54123-C422-F766-3696-EC11C2E6B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3033119"/>
              </p:ext>
            </p:extLst>
          </p:nvPr>
        </p:nvGraphicFramePr>
        <p:xfrm>
          <a:off x="457200" y="1221850"/>
          <a:ext cx="11274552" cy="37592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1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628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59639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>
                          <a:solidFill>
                            <a:schemeClr val="accent1"/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Welcome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9639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accent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accent1"/>
                          </a:solidFill>
                          <a:latin typeface="Montserrat" panose="00000500000000000000" pitchFamily="2" charset="0"/>
                        </a:rPr>
                        <a:t>Internship Goals and Objectives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59639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accent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accent1"/>
                          </a:solidFill>
                          <a:latin typeface="Montserrat" panose="00000500000000000000" pitchFamily="2" charset="0"/>
                        </a:rPr>
                        <a:t>Weekly Progress Timeline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59639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accent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accent1"/>
                          </a:solidFill>
                          <a:latin typeface="Montserrat" panose="00000500000000000000" pitchFamily="2" charset="0"/>
                        </a:rPr>
                        <a:t>Projects Overview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59639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accent1"/>
                          </a:solidFill>
                          <a:latin typeface="+mj-lt"/>
                        </a:rPr>
                        <a:t>5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37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Web Crawling &amp; Automation Process 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394149"/>
                  </a:ext>
                </a:extLst>
              </a:tr>
              <a:tr h="461010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accent1"/>
                          </a:solidFill>
                          <a:latin typeface="+mj-lt"/>
                        </a:rPr>
                        <a:t>6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accent1"/>
                          </a:solidFill>
                          <a:latin typeface="Montserrat" panose="00000500000000000000" pitchFamily="2" charset="0"/>
                        </a:rPr>
                        <a:t>Next Steps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1204831"/>
                  </a:ext>
                </a:extLst>
              </a:tr>
            </a:tbl>
          </a:graphicData>
        </a:graphic>
      </p:graphicFrame>
      <p:sp>
        <p:nvSpPr>
          <p:cNvPr id="3" name="Title" descr="Agenda">
            <a:extLst>
              <a:ext uri="{FF2B5EF4-FFF2-40B4-BE49-F238E27FC236}">
                <a16:creationId xmlns:a16="http://schemas.microsoft.com/office/drawing/2014/main" id="{18B078FA-94E7-E06E-0BEF-ACF8902089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034723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54687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A403C91-DD83-A6FC-FCD3-AF14B9CCC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7EA64D-FBF8-9D9D-6100-18A13F4CA80E}"/>
              </a:ext>
            </a:extLst>
          </p:cNvPr>
          <p:cNvSpPr txBox="1"/>
          <p:nvPr/>
        </p:nvSpPr>
        <p:spPr>
          <a:xfrm>
            <a:off x="277567" y="948364"/>
            <a:ext cx="2752826" cy="43313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76F4EB-A8A3-7C65-EF15-1D558E006B09}"/>
              </a:ext>
            </a:extLst>
          </p:cNvPr>
          <p:cNvSpPr txBox="1"/>
          <p:nvPr/>
        </p:nvSpPr>
        <p:spPr>
          <a:xfrm>
            <a:off x="277567" y="749434"/>
            <a:ext cx="1050332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Nunito Sans" pitchFamily="2" charset="0"/>
              </a:rPr>
              <a:t>A claim for a comprehensive service (e.g., venipuncture) that arrives and is processed before a later, another comprehensive service claim (e.g., lab panel) with the same date of servic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Nunito Sans" pitchFamily="2" charset="0"/>
              </a:rPr>
              <a:t>The system pays the first claim before seeing the bundled/global service that should override or encompass it.</a:t>
            </a: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8B623C90-F208-0325-E8B8-F6799EAD885D}"/>
              </a:ext>
            </a:extLst>
          </p:cNvPr>
          <p:cNvSpPr/>
          <p:nvPr/>
        </p:nvSpPr>
        <p:spPr>
          <a:xfrm>
            <a:off x="277567" y="259274"/>
            <a:ext cx="2560319" cy="394868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What is an OOS Claim </a:t>
            </a:r>
          </a:p>
          <a:p>
            <a:pPr algn="ctr"/>
            <a:endParaRPr lang="en-US" dirty="0"/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4E9A063D-3E3E-01DE-E30A-52F90E202075}"/>
              </a:ext>
            </a:extLst>
          </p:cNvPr>
          <p:cNvSpPr/>
          <p:nvPr/>
        </p:nvSpPr>
        <p:spPr>
          <a:xfrm>
            <a:off x="277567" y="4333775"/>
            <a:ext cx="1271337" cy="347736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Problem</a:t>
            </a:r>
          </a:p>
          <a:p>
            <a:pPr algn="ctr"/>
            <a:endParaRPr lang="en-US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D26BAA86-2047-EDF8-0AA2-30BBB23B14F9}"/>
              </a:ext>
            </a:extLst>
          </p:cNvPr>
          <p:cNvSpPr txBox="1"/>
          <p:nvPr/>
        </p:nvSpPr>
        <p:spPr>
          <a:xfrm>
            <a:off x="277567" y="4780497"/>
            <a:ext cx="8787865" cy="112913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Nunito Sans" pitchFamily="2" charset="0"/>
              </a:rPr>
              <a:t> When the comprehensive claim arrives later, the system has already paid the another clai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Nunito Sans" pitchFamily="2" charset="0"/>
              </a:rPr>
              <a:t>Results in incorrect payments, duplicate reimbursements, and lost saving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Nunito Sans" pitchFamily="2" charset="0"/>
              </a:rPr>
              <a:t>Manual recovery efforts increase administrative costs and delay true claim adjudication.</a:t>
            </a:r>
          </a:p>
        </p:txBody>
      </p:sp>
    </p:spTree>
    <p:extLst>
      <p:ext uri="{BB962C8B-B14F-4D97-AF65-F5344CB8AC3E}">
        <p14:creationId xmlns:p14="http://schemas.microsoft.com/office/powerpoint/2010/main" val="340994060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9B56B2D-2C52-8599-79D0-E6CE1C54B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22</a:t>
            </a:fld>
            <a:endParaRPr lang="en-US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1D8E1381-B41B-9407-975C-651233A332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242" y="1221636"/>
            <a:ext cx="9949428" cy="5083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E43FFEB-A9A4-97F2-F743-8890599F190E}"/>
              </a:ext>
            </a:extLst>
          </p:cNvPr>
          <p:cNvSpPr txBox="1"/>
          <p:nvPr/>
        </p:nvSpPr>
        <p:spPr>
          <a:xfrm>
            <a:off x="584790" y="105217"/>
            <a:ext cx="9069572" cy="6592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2181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629893D-78EB-BDD7-364C-9535D6342E43}"/>
              </a:ext>
            </a:extLst>
          </p:cNvPr>
          <p:cNvSpPr/>
          <p:nvPr/>
        </p:nvSpPr>
        <p:spPr>
          <a:xfrm>
            <a:off x="2584153" y="1263240"/>
            <a:ext cx="5276088" cy="1666632"/>
          </a:xfrm>
          <a:prstGeom prst="roundRect">
            <a:avLst>
              <a:gd name="adj" fmla="val 10785"/>
            </a:avLst>
          </a:prstGeom>
          <a:solidFill>
            <a:schemeClr val="bg1"/>
          </a:solidFill>
          <a:ln>
            <a:solidFill>
              <a:schemeClr val="accent6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50B29A-AD12-022C-307D-2C53A2E454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CCD1DAD-1645-F2E7-3F65-2EDCD714F066}"/>
              </a:ext>
            </a:extLst>
          </p:cNvPr>
          <p:cNvSpPr txBox="1"/>
          <p:nvPr/>
        </p:nvSpPr>
        <p:spPr>
          <a:xfrm>
            <a:off x="0" y="100188"/>
            <a:ext cx="10643616" cy="56973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noAutofit/>
          </a:bodyPr>
          <a:lstStyle/>
          <a:p>
            <a:pPr defTabSz="685800">
              <a:lnSpc>
                <a:spcPct val="90000"/>
              </a:lnSpc>
              <a:spcBef>
                <a:spcPct val="0"/>
              </a:spcBef>
            </a:pPr>
            <a:r>
              <a:rPr lang="en-US" sz="2400" b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Streamlined Automated</a:t>
            </a:r>
            <a:r>
              <a:rPr lang="en-US" sz="24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400" b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roduction Pipeline</a:t>
            </a:r>
            <a:endParaRPr lang="en-US" i="1" dirty="0"/>
          </a:p>
          <a:p>
            <a:pPr defTabSz="685800">
              <a:lnSpc>
                <a:spcPct val="90000"/>
              </a:lnSpc>
              <a:spcBef>
                <a:spcPct val="0"/>
              </a:spcBef>
            </a:pPr>
            <a:endParaRPr lang="en-US" dirty="0">
              <a:ea typeface="+mj-ea"/>
              <a:cs typeface="+mj-cs"/>
            </a:endParaRPr>
          </a:p>
        </p:txBody>
      </p:sp>
      <p:pic>
        <p:nvPicPr>
          <p:cNvPr id="5" name="Picture 4" descr="Openshift logo - Social media &amp; Logos Icons">
            <a:extLst>
              <a:ext uri="{FF2B5EF4-FFF2-40B4-BE49-F238E27FC236}">
                <a16:creationId xmlns:a16="http://schemas.microsoft.com/office/drawing/2014/main" id="{1C6E4182-053F-8025-DC64-F2232D5A09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7241" y="5037587"/>
            <a:ext cx="2000739" cy="1000370"/>
          </a:xfrm>
          <a:prstGeom prst="rect">
            <a:avLst/>
          </a:prstGeom>
        </p:spPr>
      </p:pic>
      <p:pic>
        <p:nvPicPr>
          <p:cNvPr id="7" name="Picture 6" descr="Docker Logo and symbol, meaning, history, PNG, brand">
            <a:extLst>
              <a:ext uri="{FF2B5EF4-FFF2-40B4-BE49-F238E27FC236}">
                <a16:creationId xmlns:a16="http://schemas.microsoft.com/office/drawing/2014/main" id="{CA339BEE-7A3E-711A-2624-D17FF56484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2129" y="5037587"/>
            <a:ext cx="1822450" cy="914103"/>
          </a:xfrm>
          <a:prstGeom prst="rect">
            <a:avLst/>
          </a:prstGeom>
        </p:spPr>
      </p:pic>
      <p:pic>
        <p:nvPicPr>
          <p:cNvPr id="8" name="Picture 7" descr="How to Schedule a Python Application in Docker Container using Cronjob">
            <a:extLst>
              <a:ext uri="{FF2B5EF4-FFF2-40B4-BE49-F238E27FC236}">
                <a16:creationId xmlns:a16="http://schemas.microsoft.com/office/drawing/2014/main" id="{ADC15786-125B-D52C-20A7-81C905D1DB5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7230" r="254" b="1532"/>
          <a:stretch>
            <a:fillRect/>
          </a:stretch>
        </p:blipFill>
        <p:spPr>
          <a:xfrm>
            <a:off x="8572511" y="4958219"/>
            <a:ext cx="2464084" cy="1117231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1AA2D742-7409-597B-BEAD-9253138EC267}"/>
              </a:ext>
            </a:extLst>
          </p:cNvPr>
          <p:cNvGrpSpPr/>
          <p:nvPr/>
        </p:nvGrpSpPr>
        <p:grpSpPr>
          <a:xfrm>
            <a:off x="2901171" y="1912887"/>
            <a:ext cx="685800" cy="685800"/>
            <a:chOff x="622173" y="2606265"/>
            <a:chExt cx="987552" cy="987552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5A53E25F-B443-F91E-21BB-0AA07FD8C9CB}"/>
                </a:ext>
              </a:extLst>
            </p:cNvPr>
            <p:cNvSpPr/>
            <p:nvPr/>
          </p:nvSpPr>
          <p:spPr>
            <a:xfrm>
              <a:off x="622173" y="2606265"/>
              <a:ext cx="987552" cy="987552"/>
            </a:xfrm>
            <a:prstGeom prst="ellipse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Graphic 8" descr="Internet outline">
              <a:extLst>
                <a:ext uri="{FF2B5EF4-FFF2-40B4-BE49-F238E27FC236}">
                  <a16:creationId xmlns:a16="http://schemas.microsoft.com/office/drawing/2014/main" id="{27B0863F-B7ED-299F-A31D-EBA168102B5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03547" y="2690407"/>
              <a:ext cx="812624" cy="812624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8E82EE83-D67A-BD62-FD7B-F29D8E508DE6}"/>
              </a:ext>
            </a:extLst>
          </p:cNvPr>
          <p:cNvGrpSpPr/>
          <p:nvPr/>
        </p:nvGrpSpPr>
        <p:grpSpPr>
          <a:xfrm>
            <a:off x="4243531" y="1912887"/>
            <a:ext cx="685800" cy="685800"/>
            <a:chOff x="3284429" y="2441448"/>
            <a:chExt cx="987552" cy="987552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507742ED-9F5D-4E74-8680-E57D44F1C7DF}"/>
                </a:ext>
              </a:extLst>
            </p:cNvPr>
            <p:cNvSpPr/>
            <p:nvPr/>
          </p:nvSpPr>
          <p:spPr>
            <a:xfrm>
              <a:off x="3284429" y="2441448"/>
              <a:ext cx="987552" cy="987552"/>
            </a:xfrm>
            <a:prstGeom prst="ellipse">
              <a:avLst/>
            </a:prstGeom>
            <a:noFill/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" name="Picture 4">
              <a:extLst>
                <a:ext uri="{FF2B5EF4-FFF2-40B4-BE49-F238E27FC236}">
                  <a16:creationId xmlns:a16="http://schemas.microsoft.com/office/drawing/2014/main" id="{B3861B9D-3D44-B1DD-7C78-47A32F06FF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18065" y="2589906"/>
              <a:ext cx="720280" cy="7202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9834DFE-7D66-34E1-2D21-E104925A899A}"/>
              </a:ext>
            </a:extLst>
          </p:cNvPr>
          <p:cNvGrpSpPr/>
          <p:nvPr/>
        </p:nvGrpSpPr>
        <p:grpSpPr>
          <a:xfrm>
            <a:off x="5585891" y="1912887"/>
            <a:ext cx="685800" cy="685800"/>
            <a:chOff x="6476998" y="2425290"/>
            <a:chExt cx="987552" cy="987552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D7518F8F-0B9F-879F-3077-87273410169B}"/>
                </a:ext>
              </a:extLst>
            </p:cNvPr>
            <p:cNvSpPr/>
            <p:nvPr/>
          </p:nvSpPr>
          <p:spPr>
            <a:xfrm>
              <a:off x="6476998" y="2425290"/>
              <a:ext cx="987552" cy="987552"/>
            </a:xfrm>
            <a:prstGeom prst="ellipse">
              <a:avLst/>
            </a:prstGeom>
            <a:noFill/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EAFD331D-4C5D-339A-920E-01CE2FF629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8408" y="2631631"/>
              <a:ext cx="639475" cy="639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90C5D8D-A267-E2A9-6131-875A291EF217}"/>
              </a:ext>
            </a:extLst>
          </p:cNvPr>
          <p:cNvCxnSpPr>
            <a:cxnSpLocks/>
            <a:stCxn id="11" idx="6"/>
            <a:endCxn id="14" idx="2"/>
          </p:cNvCxnSpPr>
          <p:nvPr/>
        </p:nvCxnSpPr>
        <p:spPr>
          <a:xfrm>
            <a:off x="4929331" y="2255787"/>
            <a:ext cx="65656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567126A-9395-5E31-2E86-3A4AEF4AE452}"/>
              </a:ext>
            </a:extLst>
          </p:cNvPr>
          <p:cNvGrpSpPr/>
          <p:nvPr/>
        </p:nvGrpSpPr>
        <p:grpSpPr>
          <a:xfrm>
            <a:off x="6928252" y="1912887"/>
            <a:ext cx="685800" cy="685800"/>
            <a:chOff x="8500864" y="2421968"/>
            <a:chExt cx="987552" cy="98755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9117529-B3B9-082B-34B8-A8879647EC36}"/>
                </a:ext>
              </a:extLst>
            </p:cNvPr>
            <p:cNvSpPr/>
            <p:nvPr/>
          </p:nvSpPr>
          <p:spPr>
            <a:xfrm>
              <a:off x="8500864" y="2421968"/>
              <a:ext cx="987552" cy="987552"/>
            </a:xfrm>
            <a:prstGeom prst="ellipse">
              <a:avLst/>
            </a:prstGeom>
            <a:noFill/>
            <a:ln w="381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9" name="Graphic 18" descr="Database with solid fill">
              <a:extLst>
                <a:ext uri="{FF2B5EF4-FFF2-40B4-BE49-F238E27FC236}">
                  <a16:creationId xmlns:a16="http://schemas.microsoft.com/office/drawing/2014/main" id="{072D4E28-ED03-2FA4-4E89-BE9204D9083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616356" y="2537460"/>
              <a:ext cx="756568" cy="756568"/>
            </a:xfrm>
            <a:prstGeom prst="rect">
              <a:avLst/>
            </a:prstGeom>
          </p:spPr>
        </p:pic>
      </p:grp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BA85D9F-0626-AE82-C08B-02EC877C51CF}"/>
              </a:ext>
            </a:extLst>
          </p:cNvPr>
          <p:cNvCxnSpPr>
            <a:cxnSpLocks/>
            <a:stCxn id="14" idx="6"/>
            <a:endCxn id="18" idx="2"/>
          </p:cNvCxnSpPr>
          <p:nvPr/>
        </p:nvCxnSpPr>
        <p:spPr>
          <a:xfrm>
            <a:off x="6271691" y="2255787"/>
            <a:ext cx="65656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61A9BB6-05AF-E1FE-605C-666F47282672}"/>
              </a:ext>
            </a:extLst>
          </p:cNvPr>
          <p:cNvCxnSpPr>
            <a:cxnSpLocks/>
            <a:stCxn id="6" idx="6"/>
            <a:endCxn id="11" idx="2"/>
          </p:cNvCxnSpPr>
          <p:nvPr/>
        </p:nvCxnSpPr>
        <p:spPr>
          <a:xfrm>
            <a:off x="3586971" y="2255787"/>
            <a:ext cx="65656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B2B778BB-0381-64AC-36CE-2C7A0D4371FB}"/>
              </a:ext>
            </a:extLst>
          </p:cNvPr>
          <p:cNvSpPr txBox="1"/>
          <p:nvPr/>
        </p:nvSpPr>
        <p:spPr>
          <a:xfrm>
            <a:off x="4198858" y="1263240"/>
            <a:ext cx="2046678" cy="264601"/>
          </a:xfrm>
          <a:prstGeom prst="rect">
            <a:avLst/>
          </a:prstGeom>
          <a:noFill/>
          <a:effectLst/>
        </p:spPr>
        <p:txBody>
          <a:bodyPr wrap="square" rtlCol="0">
            <a:noAutofit/>
          </a:bodyPr>
          <a:lstStyle/>
          <a:p>
            <a:pPr algn="l"/>
            <a:r>
              <a:rPr lang="en-US" sz="1600">
                <a:solidFill>
                  <a:schemeClr val="accent6">
                    <a:lumMod val="75000"/>
                  </a:schemeClr>
                </a:solidFill>
              </a:rPr>
              <a:t>Docker Contain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D04CBDB-A450-883E-7CDD-157939CDCD7C}"/>
              </a:ext>
            </a:extLst>
          </p:cNvPr>
          <p:cNvSpPr txBox="1"/>
          <p:nvPr/>
        </p:nvSpPr>
        <p:spPr>
          <a:xfrm>
            <a:off x="2835732" y="2669740"/>
            <a:ext cx="808219" cy="19912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/>
              <a:t>Websit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462BF1F-158E-0DF8-249A-E06733A9FB8A}"/>
              </a:ext>
            </a:extLst>
          </p:cNvPr>
          <p:cNvSpPr txBox="1"/>
          <p:nvPr/>
        </p:nvSpPr>
        <p:spPr>
          <a:xfrm>
            <a:off x="4336334" y="2649979"/>
            <a:ext cx="656560" cy="2377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/>
              <a:t>Scrap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FF1B49B-EAC6-3B4C-97C9-8C137634DA6C}"/>
              </a:ext>
            </a:extLst>
          </p:cNvPr>
          <p:cNvSpPr txBox="1"/>
          <p:nvPr/>
        </p:nvSpPr>
        <p:spPr>
          <a:xfrm>
            <a:off x="5697772" y="2649979"/>
            <a:ext cx="547764" cy="2377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/>
              <a:t>Filte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EC84557-311E-217C-7233-EB7077EEBC62}"/>
              </a:ext>
            </a:extLst>
          </p:cNvPr>
          <p:cNvSpPr txBox="1"/>
          <p:nvPr/>
        </p:nvSpPr>
        <p:spPr>
          <a:xfrm>
            <a:off x="6997270" y="2649979"/>
            <a:ext cx="547764" cy="2377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/>
              <a:t>Store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9100B957-0D05-033B-CA9A-08B54A95A3A2}"/>
              </a:ext>
            </a:extLst>
          </p:cNvPr>
          <p:cNvCxnSpPr>
            <a:stCxn id="28" idx="3"/>
            <a:endCxn id="1030" idx="1"/>
          </p:cNvCxnSpPr>
          <p:nvPr/>
        </p:nvCxnSpPr>
        <p:spPr>
          <a:xfrm flipV="1">
            <a:off x="7860241" y="2090034"/>
            <a:ext cx="827068" cy="65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D4522AF1-2C0D-B491-4130-788AA1317DCD}"/>
              </a:ext>
            </a:extLst>
          </p:cNvPr>
          <p:cNvCxnSpPr>
            <a:stCxn id="1030" idx="3"/>
            <a:endCxn id="1026" idx="1"/>
          </p:cNvCxnSpPr>
          <p:nvPr/>
        </p:nvCxnSpPr>
        <p:spPr>
          <a:xfrm>
            <a:off x="9507760" y="2090034"/>
            <a:ext cx="92168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2" name="Picture 8">
            <a:extLst>
              <a:ext uri="{FF2B5EF4-FFF2-40B4-BE49-F238E27FC236}">
                <a16:creationId xmlns:a16="http://schemas.microsoft.com/office/drawing/2014/main" id="{BEC65BBE-B229-5E15-418D-022133BE01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210" y="1745990"/>
            <a:ext cx="800100" cy="810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76A28865-673B-132E-1DA3-628DAA54415C}"/>
              </a:ext>
            </a:extLst>
          </p:cNvPr>
          <p:cNvGrpSpPr/>
          <p:nvPr/>
        </p:nvGrpSpPr>
        <p:grpSpPr>
          <a:xfrm>
            <a:off x="8496112" y="1679808"/>
            <a:ext cx="1297457" cy="874121"/>
            <a:chOff x="8496112" y="2467482"/>
            <a:chExt cx="1297457" cy="874121"/>
          </a:xfrm>
        </p:grpSpPr>
        <p:pic>
          <p:nvPicPr>
            <p:cNvPr id="1030" name="Picture 6" descr="microsoft excel mobile apps logo 17396828 PNG">
              <a:extLst>
                <a:ext uri="{FF2B5EF4-FFF2-40B4-BE49-F238E27FC236}">
                  <a16:creationId xmlns:a16="http://schemas.microsoft.com/office/drawing/2014/main" id="{13A11760-1F8C-421E-7924-F030992A4D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87309" y="2467482"/>
              <a:ext cx="820451" cy="8204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6F0DDB83-DD74-9A5A-BC1D-6E27B5DE96B1}"/>
                </a:ext>
              </a:extLst>
            </p:cNvPr>
            <p:cNvSpPr txBox="1"/>
            <p:nvPr/>
          </p:nvSpPr>
          <p:spPr>
            <a:xfrm>
              <a:off x="8496112" y="3120763"/>
              <a:ext cx="1297457" cy="22084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100" dirty="0"/>
                <a:t>Relevant Bills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2035F6B-07A7-68B6-EE20-2D064B0A0444}"/>
              </a:ext>
            </a:extLst>
          </p:cNvPr>
          <p:cNvGrpSpPr/>
          <p:nvPr/>
        </p:nvGrpSpPr>
        <p:grpSpPr>
          <a:xfrm>
            <a:off x="10346106" y="1679808"/>
            <a:ext cx="1039107" cy="873414"/>
            <a:chOff x="10346106" y="2479274"/>
            <a:chExt cx="1039107" cy="873414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157D0CA1-A7B9-DB5B-B793-66F3A6AB9E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29441" y="2479274"/>
              <a:ext cx="820451" cy="8204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396A332-01FB-5C64-B831-B2C85D27F08B}"/>
                </a:ext>
              </a:extLst>
            </p:cNvPr>
            <p:cNvSpPr txBox="1"/>
            <p:nvPr/>
          </p:nvSpPr>
          <p:spPr>
            <a:xfrm>
              <a:off x="10346106" y="3120056"/>
              <a:ext cx="1039107" cy="23263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100" dirty="0"/>
                <a:t>Inbox alert</a:t>
              </a: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8F072886-4F39-95C4-AFE7-F77D82156458}"/>
              </a:ext>
            </a:extLst>
          </p:cNvPr>
          <p:cNvSpPr txBox="1"/>
          <p:nvPr/>
        </p:nvSpPr>
        <p:spPr>
          <a:xfrm>
            <a:off x="270333" y="3593393"/>
            <a:ext cx="11361227" cy="6740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400" i="1" dirty="0">
                <a:solidFill>
                  <a:schemeClr val="accent3"/>
                </a:solidFill>
              </a:rPr>
              <a:t>Code runs first Friday of each month, pulling relevant bills from legislative websites and storing on Share point and Hadoop, along with an email notification to the user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321881B-31D8-3A0E-8C64-470382117CEA}"/>
              </a:ext>
            </a:extLst>
          </p:cNvPr>
          <p:cNvSpPr txBox="1"/>
          <p:nvPr/>
        </p:nvSpPr>
        <p:spPr>
          <a:xfrm>
            <a:off x="575809" y="2456466"/>
            <a:ext cx="919615" cy="19351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100" dirty="0"/>
              <a:t>Scheduler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480E1B8-759C-2AAC-3C42-98B529510747}"/>
              </a:ext>
            </a:extLst>
          </p:cNvPr>
          <p:cNvCxnSpPr>
            <a:cxnSpLocks/>
            <a:stCxn id="1032" idx="3"/>
          </p:cNvCxnSpPr>
          <p:nvPr/>
        </p:nvCxnSpPr>
        <p:spPr>
          <a:xfrm>
            <a:off x="1413310" y="2151466"/>
            <a:ext cx="103461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01C7CD8A-4427-854C-4F6D-7B3DBC81EA3F}"/>
              </a:ext>
            </a:extLst>
          </p:cNvPr>
          <p:cNvSpPr txBox="1"/>
          <p:nvPr/>
        </p:nvSpPr>
        <p:spPr>
          <a:xfrm>
            <a:off x="3838575" y="4533900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pic>
        <p:nvPicPr>
          <p:cNvPr id="22" name="Picture 2" descr="Jenkins vertical logo transparent PNG - StickPNG">
            <a:extLst>
              <a:ext uri="{FF2B5EF4-FFF2-40B4-BE49-F238E27FC236}">
                <a16:creationId xmlns:a16="http://schemas.microsoft.com/office/drawing/2014/main" id="{F2CB7ABD-D2EC-CFB9-87DF-3ADA493C1F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7296" y="4661644"/>
            <a:ext cx="1909675" cy="1270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92697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B7309C3-896B-0545-39F2-3DB30C74F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6085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1974E4-D6B1-C44E-8464-7E600A4DC3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CSC – CVP</a:t>
            </a:r>
          </a:p>
        </p:txBody>
      </p:sp>
    </p:spTree>
    <p:extLst>
      <p:ext uri="{BB962C8B-B14F-4D97-AF65-F5344CB8AC3E}">
        <p14:creationId xmlns:p14="http://schemas.microsoft.com/office/powerpoint/2010/main" val="3414049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D74234-0C30-7CE3-735F-5C7D4E31FE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685CC2E-E9C3-80EC-0AAF-816B96F287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26</a:t>
            </a:fld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64AF531-2F1B-C112-8841-5016684A8E25}"/>
              </a:ext>
            </a:extLst>
          </p:cNvPr>
          <p:cNvGrpSpPr/>
          <p:nvPr/>
        </p:nvGrpSpPr>
        <p:grpSpPr>
          <a:xfrm>
            <a:off x="0" y="1022329"/>
            <a:ext cx="5546328" cy="2189759"/>
            <a:chOff x="-38456" y="3918522"/>
            <a:chExt cx="5546328" cy="2189759"/>
          </a:xfrm>
        </p:grpSpPr>
        <p:graphicFrame>
          <p:nvGraphicFramePr>
            <p:cNvPr id="12" name="Chart 11">
              <a:extLst>
                <a:ext uri="{FF2B5EF4-FFF2-40B4-BE49-F238E27FC236}">
                  <a16:creationId xmlns:a16="http://schemas.microsoft.com/office/drawing/2014/main" id="{54D69FC7-1206-41DE-ED01-7E2FA3935DE2}"/>
                </a:ext>
              </a:extLst>
            </p:cNvPr>
            <p:cNvGraphicFramePr/>
            <p:nvPr/>
          </p:nvGraphicFramePr>
          <p:xfrm>
            <a:off x="-38456" y="3918522"/>
            <a:ext cx="5546328" cy="133553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13" name="Chart 12">
              <a:extLst>
                <a:ext uri="{FF2B5EF4-FFF2-40B4-BE49-F238E27FC236}">
                  <a16:creationId xmlns:a16="http://schemas.microsoft.com/office/drawing/2014/main" id="{70759DD5-D50E-75F7-B0C3-157CB4C4DA29}"/>
                </a:ext>
              </a:extLst>
            </p:cNvPr>
            <p:cNvGraphicFramePr/>
            <p:nvPr/>
          </p:nvGraphicFramePr>
          <p:xfrm>
            <a:off x="316749" y="5024145"/>
            <a:ext cx="5191123" cy="98255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086D51F-FF44-32CE-EE02-2CEDEF839D77}"/>
                </a:ext>
              </a:extLst>
            </p:cNvPr>
            <p:cNvGrpSpPr/>
            <p:nvPr/>
          </p:nvGrpSpPr>
          <p:grpSpPr>
            <a:xfrm>
              <a:off x="2475806" y="5906937"/>
              <a:ext cx="1220550" cy="201344"/>
              <a:chOff x="1817438" y="6041367"/>
              <a:chExt cx="1220550" cy="201344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1136DBAA-D96E-D8C9-D97B-7B90B2F03727}"/>
                  </a:ext>
                </a:extLst>
              </p:cNvPr>
              <p:cNvSpPr/>
              <p:nvPr/>
            </p:nvSpPr>
            <p:spPr>
              <a:xfrm>
                <a:off x="1817438" y="6115517"/>
                <a:ext cx="91440" cy="9144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5" name="TextBox 8">
                <a:extLst>
                  <a:ext uri="{FF2B5EF4-FFF2-40B4-BE49-F238E27FC236}">
                    <a16:creationId xmlns:a16="http://schemas.microsoft.com/office/drawing/2014/main" id="{DA4FD1C5-E7F7-D11C-2E02-2373B3DD3C2E}"/>
                  </a:ext>
                </a:extLst>
              </p:cNvPr>
              <p:cNvSpPr txBox="1"/>
              <p:nvPr/>
            </p:nvSpPr>
            <p:spPr>
              <a:xfrm>
                <a:off x="1908878" y="6043186"/>
                <a:ext cx="473115" cy="199525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1000"/>
                  <a:t>CE</a:t>
                </a: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3CB4E46-F995-A8BA-38B4-B71E01E88C5C}"/>
                  </a:ext>
                </a:extLst>
              </p:cNvPr>
              <p:cNvSpPr/>
              <p:nvPr/>
            </p:nvSpPr>
            <p:spPr>
              <a:xfrm>
                <a:off x="2473433" y="6113698"/>
                <a:ext cx="91440" cy="9144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8" name="TextBox 8">
                <a:extLst>
                  <a:ext uri="{FF2B5EF4-FFF2-40B4-BE49-F238E27FC236}">
                    <a16:creationId xmlns:a16="http://schemas.microsoft.com/office/drawing/2014/main" id="{D489B49F-E165-5C32-F788-653EB9446002}"/>
                  </a:ext>
                </a:extLst>
              </p:cNvPr>
              <p:cNvSpPr txBox="1"/>
              <p:nvPr/>
            </p:nvSpPr>
            <p:spPr>
              <a:xfrm>
                <a:off x="2564873" y="6041367"/>
                <a:ext cx="473115" cy="199525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1000"/>
                  <a:t>CV</a:t>
                </a:r>
              </a:p>
            </p:txBody>
          </p:sp>
        </p:grp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C5003A7-CD02-6EEE-C157-8B492DD2BF68}"/>
              </a:ext>
            </a:extLst>
          </p:cNvPr>
          <p:cNvGrpSpPr/>
          <p:nvPr/>
        </p:nvGrpSpPr>
        <p:grpSpPr>
          <a:xfrm>
            <a:off x="6022976" y="861759"/>
            <a:ext cx="5711825" cy="2352148"/>
            <a:chOff x="-51594" y="468567"/>
            <a:chExt cx="5711825" cy="2352148"/>
          </a:xfrm>
        </p:grpSpPr>
        <p:graphicFrame>
          <p:nvGraphicFramePr>
            <p:cNvPr id="6" name="Chart 5">
              <a:extLst>
                <a:ext uri="{FF2B5EF4-FFF2-40B4-BE49-F238E27FC236}">
                  <a16:creationId xmlns:a16="http://schemas.microsoft.com/office/drawing/2014/main" id="{7EBCF431-5DD8-62A0-8E05-2F77D82BB4D4}"/>
                </a:ext>
              </a:extLst>
            </p:cNvPr>
            <p:cNvGraphicFramePr/>
            <p:nvPr/>
          </p:nvGraphicFramePr>
          <p:xfrm>
            <a:off x="-51594" y="468567"/>
            <a:ext cx="5711825" cy="188886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graphicFrame>
          <p:nvGraphicFramePr>
            <p:cNvPr id="9" name="Chart 8">
              <a:extLst>
                <a:ext uri="{FF2B5EF4-FFF2-40B4-BE49-F238E27FC236}">
                  <a16:creationId xmlns:a16="http://schemas.microsoft.com/office/drawing/2014/main" id="{9ACE6F11-E9C9-A078-CE8A-CFCA14DC886C}"/>
                </a:ext>
              </a:extLst>
            </p:cNvPr>
            <p:cNvGraphicFramePr/>
            <p:nvPr/>
          </p:nvGraphicFramePr>
          <p:xfrm>
            <a:off x="9144" y="1682496"/>
            <a:ext cx="5564189" cy="83585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DC2543B-1DCE-7559-F0EC-035634C87FCD}"/>
                </a:ext>
              </a:extLst>
            </p:cNvPr>
            <p:cNvSpPr/>
            <p:nvPr/>
          </p:nvSpPr>
          <p:spPr>
            <a:xfrm>
              <a:off x="2253376" y="2693521"/>
              <a:ext cx="91440" cy="914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5" name="TextBox 8">
              <a:extLst>
                <a:ext uri="{FF2B5EF4-FFF2-40B4-BE49-F238E27FC236}">
                  <a16:creationId xmlns:a16="http://schemas.microsoft.com/office/drawing/2014/main" id="{52F7D77B-B2FA-643F-3D3B-F91FE967B6F0}"/>
                </a:ext>
              </a:extLst>
            </p:cNvPr>
            <p:cNvSpPr txBox="1"/>
            <p:nvPr/>
          </p:nvSpPr>
          <p:spPr>
            <a:xfrm>
              <a:off x="2344816" y="2621190"/>
              <a:ext cx="473115" cy="19952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1000"/>
                <a:t>Fac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86453FF-1BC4-16B5-9C5D-C20FB06995D8}"/>
                </a:ext>
              </a:extLst>
            </p:cNvPr>
            <p:cNvSpPr/>
            <p:nvPr/>
          </p:nvSpPr>
          <p:spPr>
            <a:xfrm>
              <a:off x="2909371" y="2691702"/>
              <a:ext cx="9144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9" name="TextBox 8">
              <a:extLst>
                <a:ext uri="{FF2B5EF4-FFF2-40B4-BE49-F238E27FC236}">
                  <a16:creationId xmlns:a16="http://schemas.microsoft.com/office/drawing/2014/main" id="{5B3E0A89-39DC-1068-F455-428CA5551320}"/>
                </a:ext>
              </a:extLst>
            </p:cNvPr>
            <p:cNvSpPr txBox="1"/>
            <p:nvPr/>
          </p:nvSpPr>
          <p:spPr>
            <a:xfrm>
              <a:off x="3000811" y="2619371"/>
              <a:ext cx="473115" cy="19952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1000"/>
                <a:t>Prof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7D4C5A43-FDC8-5ADB-2AE8-D50984AA7244}"/>
              </a:ext>
            </a:extLst>
          </p:cNvPr>
          <p:cNvSpPr txBox="1"/>
          <p:nvPr/>
        </p:nvSpPr>
        <p:spPr>
          <a:xfrm>
            <a:off x="169009" y="153373"/>
            <a:ext cx="114788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400" b="1">
                <a:solidFill>
                  <a:schemeClr val="accent1"/>
                </a:solidFill>
                <a:latin typeface="Montserrat" panose="00000500000000000000" pitchFamily="2" charset="0"/>
              </a:defRPr>
            </a:lvl1pPr>
          </a:lstStyle>
          <a:p>
            <a:r>
              <a:rPr lang="en-US"/>
              <a:t>HCSC OOS Savings is concentrated to CV, Professional, and TX/IL state</a:t>
            </a: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28A93DA3-27BE-E91D-5E25-3F8664D582CB}"/>
              </a:ext>
            </a:extLst>
          </p:cNvPr>
          <p:cNvGraphicFramePr/>
          <p:nvPr/>
        </p:nvGraphicFramePr>
        <p:xfrm>
          <a:off x="262096" y="3814313"/>
          <a:ext cx="5980912" cy="16549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303190B4-CC78-06C4-7DE0-4D4EE6C73789}"/>
              </a:ext>
            </a:extLst>
          </p:cNvPr>
          <p:cNvGraphicFramePr/>
          <p:nvPr/>
        </p:nvGraphicFramePr>
        <p:xfrm>
          <a:off x="271241" y="4860577"/>
          <a:ext cx="5980911" cy="13379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2EFA172D-3099-7FFA-65F3-0132BFF152BE}"/>
              </a:ext>
            </a:extLst>
          </p:cNvPr>
          <p:cNvSpPr txBox="1"/>
          <p:nvPr/>
        </p:nvSpPr>
        <p:spPr>
          <a:xfrm>
            <a:off x="6648285" y="4698539"/>
            <a:ext cx="44325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solidFill>
                  <a:schemeClr val="accent1"/>
                </a:solidFill>
                <a:latin typeface="Montserrat" panose="00000500000000000000" pitchFamily="2" charset="0"/>
              </a:rPr>
              <a:t>&gt;92% OOS claims of HCSC plan are from TX and IL states constitute to 90% of the Estimated Savings, </a:t>
            </a:r>
            <a:r>
              <a:rPr lang="en-US" sz="1600">
                <a:solidFill>
                  <a:schemeClr val="accent3"/>
                </a:solidFill>
                <a:latin typeface="Montserrat" panose="00000500000000000000" pitchFamily="2" charset="0"/>
              </a:rPr>
              <a:t>~$7M</a:t>
            </a:r>
          </a:p>
        </p:txBody>
      </p:sp>
    </p:spTree>
    <p:extLst>
      <p:ext uri="{BB962C8B-B14F-4D97-AF65-F5344CB8AC3E}">
        <p14:creationId xmlns:p14="http://schemas.microsoft.com/office/powerpoint/2010/main" val="39226406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FA0919-49C3-DAE8-30ED-5755E2FA76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E5564C-BF88-7770-C0CA-A7F6E576BA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27</a:t>
            </a:fld>
            <a:endParaRPr lang="en-US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C28C3B4-D1E5-CFE5-BFB9-56532E79EA00}"/>
              </a:ext>
            </a:extLst>
          </p:cNvPr>
          <p:cNvGraphicFramePr/>
          <p:nvPr/>
        </p:nvGraphicFramePr>
        <p:xfrm>
          <a:off x="1715005" y="801963"/>
          <a:ext cx="10298549" cy="51142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01CEEDFF-855E-0D63-91E3-47F470F53C4A}"/>
              </a:ext>
            </a:extLst>
          </p:cNvPr>
          <p:cNvGrpSpPr/>
          <p:nvPr/>
        </p:nvGrpSpPr>
        <p:grpSpPr>
          <a:xfrm>
            <a:off x="1536191" y="1444751"/>
            <a:ext cx="1700785" cy="1895215"/>
            <a:chOff x="1106423" y="1499615"/>
            <a:chExt cx="1700785" cy="2185415"/>
          </a:xfrm>
        </p:grpSpPr>
        <p:sp>
          <p:nvSpPr>
            <p:cNvPr id="4" name="Left Brace 3">
              <a:extLst>
                <a:ext uri="{FF2B5EF4-FFF2-40B4-BE49-F238E27FC236}">
                  <a16:creationId xmlns:a16="http://schemas.microsoft.com/office/drawing/2014/main" id="{9294C216-F9F3-68A6-6C74-5A653A395652}"/>
                </a:ext>
              </a:extLst>
            </p:cNvPr>
            <p:cNvSpPr/>
            <p:nvPr/>
          </p:nvSpPr>
          <p:spPr>
            <a:xfrm>
              <a:off x="1106423" y="1499615"/>
              <a:ext cx="658369" cy="2185415"/>
            </a:xfrm>
            <a:prstGeom prst="leftBrace">
              <a:avLst>
                <a:gd name="adj1" fmla="val 8333"/>
                <a:gd name="adj2" fmla="val 50000"/>
              </a:avLst>
            </a:prstGeom>
            <a:noFill/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3D4AA9B-59D7-8D7B-EB1F-86EE7A14FFEE}"/>
                </a:ext>
              </a:extLst>
            </p:cNvPr>
            <p:cNvCxnSpPr/>
            <p:nvPr/>
          </p:nvCxnSpPr>
          <p:spPr>
            <a:xfrm>
              <a:off x="1764792" y="1499616"/>
              <a:ext cx="1042416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9AC16FE1-FB2C-322D-9F0D-1CCF37568FF0}"/>
                </a:ext>
              </a:extLst>
            </p:cNvPr>
            <p:cNvCxnSpPr/>
            <p:nvPr/>
          </p:nvCxnSpPr>
          <p:spPr>
            <a:xfrm>
              <a:off x="1764792" y="3685030"/>
              <a:ext cx="1042416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98F93046-65CE-9AD3-7A03-6AAFBBDFDD62}"/>
              </a:ext>
            </a:extLst>
          </p:cNvPr>
          <p:cNvSpPr txBox="1"/>
          <p:nvPr/>
        </p:nvSpPr>
        <p:spPr>
          <a:xfrm>
            <a:off x="68717" y="2136806"/>
            <a:ext cx="1467474" cy="6583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50"/>
              <a:t>5 Rule categories contribute to </a:t>
            </a:r>
            <a:r>
              <a:rPr lang="en-US" sz="1050" b="1"/>
              <a:t>80%  </a:t>
            </a:r>
            <a:r>
              <a:rPr lang="en-US" sz="1050"/>
              <a:t>of Estimated Saving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2248A7E-C898-B993-EF18-35740034BD72}"/>
              </a:ext>
            </a:extLst>
          </p:cNvPr>
          <p:cNvSpPr txBox="1"/>
          <p:nvPr/>
        </p:nvSpPr>
        <p:spPr>
          <a:xfrm>
            <a:off x="169009" y="133016"/>
            <a:ext cx="110808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400" b="1">
                <a:solidFill>
                  <a:schemeClr val="accent1"/>
                </a:solidFill>
                <a:latin typeface="Montserrat" panose="00000500000000000000" pitchFamily="2" charset="0"/>
              </a:defRPr>
            </a:lvl1pPr>
          </a:lstStyle>
          <a:p>
            <a:r>
              <a:rPr lang="en-US"/>
              <a:t>Top 5 Rule Categories contribute to ~80% of Estimated Savings </a:t>
            </a:r>
            <a:r>
              <a:rPr lang="en-US">
                <a:solidFill>
                  <a:schemeClr val="accent3"/>
                </a:solidFill>
              </a:rPr>
              <a:t>$6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40B9B81-1C6D-AD39-2306-031D80E72C05}"/>
              </a:ext>
            </a:extLst>
          </p:cNvPr>
          <p:cNvSpPr txBox="1"/>
          <p:nvPr/>
        </p:nvSpPr>
        <p:spPr>
          <a:xfrm>
            <a:off x="5031555" y="5830868"/>
            <a:ext cx="2128890" cy="26247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50"/>
              <a:t>Total Rule Categories: 37</a:t>
            </a:r>
          </a:p>
        </p:txBody>
      </p:sp>
    </p:spTree>
    <p:extLst>
      <p:ext uri="{BB962C8B-B14F-4D97-AF65-F5344CB8AC3E}">
        <p14:creationId xmlns:p14="http://schemas.microsoft.com/office/powerpoint/2010/main" val="75769158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296231-4A49-0D2D-C2DD-6D57306987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B252D49C-8128-1FCF-6349-CAAEB8F01A7D}"/>
              </a:ext>
            </a:extLst>
          </p:cNvPr>
          <p:cNvGraphicFramePr/>
          <p:nvPr/>
        </p:nvGraphicFramePr>
        <p:xfrm>
          <a:off x="883693" y="995079"/>
          <a:ext cx="11080884" cy="3176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4A79ADF7-DE4F-3068-ED1D-FE0F90CA5907}"/>
              </a:ext>
            </a:extLst>
          </p:cNvPr>
          <p:cNvGrpSpPr/>
          <p:nvPr/>
        </p:nvGrpSpPr>
        <p:grpSpPr>
          <a:xfrm>
            <a:off x="1179810" y="1108360"/>
            <a:ext cx="3340880" cy="4396762"/>
            <a:chOff x="1328354" y="1204741"/>
            <a:chExt cx="4817891" cy="443030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C0092FF-7C7D-F0C0-4503-270879A38636}"/>
                </a:ext>
              </a:extLst>
            </p:cNvPr>
            <p:cNvSpPr/>
            <p:nvPr/>
          </p:nvSpPr>
          <p:spPr>
            <a:xfrm>
              <a:off x="1328354" y="1204741"/>
              <a:ext cx="4817891" cy="443030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60367B1-1C56-DF37-2EC0-E15811334F05}"/>
                </a:ext>
              </a:extLst>
            </p:cNvPr>
            <p:cNvSpPr txBox="1"/>
            <p:nvPr/>
          </p:nvSpPr>
          <p:spPr>
            <a:xfrm>
              <a:off x="1328354" y="1246116"/>
              <a:ext cx="3396856" cy="41461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000"/>
                <a:t>Threshold 2: Covering &gt;  20% Estimated Savings </a:t>
              </a: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A8E3F7-AE93-1BE5-A608-4F3DA4B213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28</a:t>
            </a:fld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A218888-8D04-26C3-5ED1-7E27550190EF}"/>
              </a:ext>
            </a:extLst>
          </p:cNvPr>
          <p:cNvSpPr txBox="1"/>
          <p:nvPr/>
        </p:nvSpPr>
        <p:spPr>
          <a:xfrm>
            <a:off x="128134" y="32938"/>
            <a:ext cx="110808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400" b="1">
                <a:solidFill>
                  <a:schemeClr val="accent1"/>
                </a:solidFill>
                <a:latin typeface="Montserrat" panose="00000500000000000000" pitchFamily="2" charset="0"/>
              </a:defRPr>
            </a:lvl1pPr>
          </a:lstStyle>
          <a:p>
            <a:r>
              <a:rPr lang="en-US"/>
              <a:t>Pending claims processing for 5 days cover 41% claim volume with an Estimated Savings of </a:t>
            </a:r>
            <a:r>
              <a:rPr lang="en-US">
                <a:solidFill>
                  <a:schemeClr val="accent3"/>
                </a:solidFill>
              </a:rPr>
              <a:t>~$1.5 M </a:t>
            </a:r>
            <a:r>
              <a:rPr lang="en-US"/>
              <a:t>(20%)</a:t>
            </a:r>
            <a:endParaRPr lang="en-US">
              <a:solidFill>
                <a:schemeClr val="accent3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ABBA26D-DFA1-6517-B690-D35A812669FB}"/>
              </a:ext>
            </a:extLst>
          </p:cNvPr>
          <p:cNvSpPr/>
          <p:nvPr/>
        </p:nvSpPr>
        <p:spPr>
          <a:xfrm>
            <a:off x="59554" y="5427702"/>
            <a:ext cx="137160" cy="1371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3" name="TextBox 8">
            <a:extLst>
              <a:ext uri="{FF2B5EF4-FFF2-40B4-BE49-F238E27FC236}">
                <a16:creationId xmlns:a16="http://schemas.microsoft.com/office/drawing/2014/main" id="{639481E5-D316-F588-612B-F417C02CE355}"/>
              </a:ext>
            </a:extLst>
          </p:cNvPr>
          <p:cNvSpPr txBox="1"/>
          <p:nvPr/>
        </p:nvSpPr>
        <p:spPr>
          <a:xfrm>
            <a:off x="196714" y="5389668"/>
            <a:ext cx="1090352" cy="23090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/>
              <a:t>Claim Coun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01C7D1E-3243-9351-BA6F-5E05618E6EB9}"/>
              </a:ext>
            </a:extLst>
          </p:cNvPr>
          <p:cNvSpPr/>
          <p:nvPr/>
        </p:nvSpPr>
        <p:spPr>
          <a:xfrm>
            <a:off x="59554" y="3294574"/>
            <a:ext cx="137160" cy="1371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6" name="TextBox 8">
            <a:extLst>
              <a:ext uri="{FF2B5EF4-FFF2-40B4-BE49-F238E27FC236}">
                <a16:creationId xmlns:a16="http://schemas.microsoft.com/office/drawing/2014/main" id="{CFF9C044-B622-781B-4976-255234488AA8}"/>
              </a:ext>
            </a:extLst>
          </p:cNvPr>
          <p:cNvSpPr txBox="1"/>
          <p:nvPr/>
        </p:nvSpPr>
        <p:spPr>
          <a:xfrm>
            <a:off x="0" y="3448865"/>
            <a:ext cx="1291382" cy="35315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/>
              <a:t>Estimated Savings Amoun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17FB5BD-9D27-010A-0EDF-9395B13ADC4E}"/>
              </a:ext>
            </a:extLst>
          </p:cNvPr>
          <p:cNvGrpSpPr/>
          <p:nvPr/>
        </p:nvGrpSpPr>
        <p:grpSpPr>
          <a:xfrm>
            <a:off x="1179810" y="2009677"/>
            <a:ext cx="2006152" cy="3495445"/>
            <a:chOff x="1346825" y="1810327"/>
            <a:chExt cx="2425529" cy="383294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40E2A5F-85DB-63BF-E1F2-191BD4905C3C}"/>
                </a:ext>
              </a:extLst>
            </p:cNvPr>
            <p:cNvSpPr/>
            <p:nvPr/>
          </p:nvSpPr>
          <p:spPr>
            <a:xfrm>
              <a:off x="1346825" y="1810327"/>
              <a:ext cx="2425529" cy="383294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D864AB6-CFB0-5D4C-32F9-89672F058A13}"/>
                </a:ext>
              </a:extLst>
            </p:cNvPr>
            <p:cNvSpPr txBox="1"/>
            <p:nvPr/>
          </p:nvSpPr>
          <p:spPr>
            <a:xfrm>
              <a:off x="1346826" y="1830056"/>
              <a:ext cx="2246120" cy="35315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000" dirty="0"/>
                <a:t>Threshold 1: </a:t>
              </a:r>
            </a:p>
            <a:p>
              <a:pPr algn="l"/>
              <a:r>
                <a:rPr lang="en-US" sz="1000" dirty="0"/>
                <a:t>Covering ~31% claim volume with 14% Estimated savings</a:t>
              </a:r>
            </a:p>
          </p:txBody>
        </p:sp>
      </p:grp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15607040-C621-EB59-7E99-D7A39FB4BE6D}"/>
              </a:ext>
            </a:extLst>
          </p:cNvPr>
          <p:cNvGraphicFramePr/>
          <p:nvPr/>
        </p:nvGraphicFramePr>
        <p:xfrm>
          <a:off x="883693" y="3186577"/>
          <a:ext cx="1072425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5135225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246510-4FFB-DF4B-D1BB-6C4CAA981D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4DCFEC3-71E6-3A90-EE63-2468AD8B1C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ll PPM Clients RVA - ICMS</a:t>
            </a:r>
          </a:p>
        </p:txBody>
      </p:sp>
    </p:spTree>
    <p:extLst>
      <p:ext uri="{BB962C8B-B14F-4D97-AF65-F5344CB8AC3E}">
        <p14:creationId xmlns:p14="http://schemas.microsoft.com/office/powerpoint/2010/main" val="30580725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2B9212-16C2-4D24-1BB3-D6CC619F98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Diagonal Corners Rounded 5">
            <a:extLst>
              <a:ext uri="{FF2B5EF4-FFF2-40B4-BE49-F238E27FC236}">
                <a16:creationId xmlns:a16="http://schemas.microsoft.com/office/drawing/2014/main" id="{4D5838A4-A583-B50D-0D84-E2FBBB2F0ACE}"/>
              </a:ext>
            </a:extLst>
          </p:cNvPr>
          <p:cNvSpPr/>
          <p:nvPr/>
        </p:nvSpPr>
        <p:spPr>
          <a:xfrm>
            <a:off x="226337" y="1855959"/>
            <a:ext cx="11117654" cy="3675709"/>
          </a:xfrm>
          <a:prstGeom prst="round2Diag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5853FB-FB65-57B2-FA0A-BAC5A490D9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3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74A379-7713-0583-CEC4-87A04F6E27E8}"/>
              </a:ext>
            </a:extLst>
          </p:cNvPr>
          <p:cNvSpPr txBox="1"/>
          <p:nvPr/>
        </p:nvSpPr>
        <p:spPr>
          <a:xfrm>
            <a:off x="226337" y="253497"/>
            <a:ext cx="5337830" cy="53415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2400" b="1">
                <a:solidFill>
                  <a:schemeClr val="accent1"/>
                </a:solidFill>
                <a:latin typeface="Montserrat" panose="00000500000000000000" pitchFamily="2" charset="0"/>
              </a:rPr>
              <a:t>Internship Goals and Objectives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F9F31E8-734C-274D-4527-14E5BE7A4CAB}"/>
              </a:ext>
            </a:extLst>
          </p:cNvPr>
          <p:cNvSpPr txBox="1"/>
          <p:nvPr/>
        </p:nvSpPr>
        <p:spPr>
          <a:xfrm>
            <a:off x="226337" y="1188189"/>
            <a:ext cx="8818075" cy="5341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600">
                <a:solidFill>
                  <a:schemeClr val="accent3"/>
                </a:solidFill>
                <a:latin typeface="Montserrat" panose="00000500000000000000" pitchFamily="2" charset="0"/>
              </a:rPr>
              <a:t>Get hands on experience on real-world application of academic concepts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37EFE35-AB02-1491-65CE-2C82CF713024}"/>
              </a:ext>
            </a:extLst>
          </p:cNvPr>
          <p:cNvSpPr txBox="1"/>
          <p:nvPr/>
        </p:nvSpPr>
        <p:spPr>
          <a:xfrm>
            <a:off x="430039" y="2123036"/>
            <a:ext cx="10710250" cy="314608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400" b="1" dirty="0">
                <a:solidFill>
                  <a:schemeClr val="accent1"/>
                </a:solidFill>
                <a:latin typeface="Montserrat" panose="00000500000000000000" pitchFamily="2" charset="0"/>
              </a:rPr>
              <a:t>Professional Development Goals:</a:t>
            </a:r>
          </a:p>
          <a:p>
            <a:pPr algn="l"/>
            <a:endParaRPr lang="en-US" sz="1400" dirty="0">
              <a:solidFill>
                <a:schemeClr val="accent1"/>
              </a:solidFill>
              <a:latin typeface="Montserrat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  <a:latin typeface="Montserrat" panose="00000500000000000000" pitchFamily="2" charset="0"/>
              </a:rPr>
              <a:t>Gain hands-on experience in healthcare policy and regulatory compliance technology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1"/>
              </a:solidFill>
              <a:latin typeface="Montserrat" panose="00000500000000000000" pitchFamily="2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  <a:latin typeface="Montserrat" panose="00000500000000000000" pitchFamily="2" charset="0"/>
              </a:rPr>
              <a:t>Develop technical skills in data extraction, automation, and AI/ML application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1"/>
              </a:solidFill>
              <a:latin typeface="Montserrat" panose="00000500000000000000" pitchFamily="2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  <a:latin typeface="Montserrat" panose="00000500000000000000" pitchFamily="2" charset="0"/>
              </a:rPr>
              <a:t>Contribute meaningfully to solving real business challenges faced by the legal team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1"/>
              </a:solidFill>
              <a:latin typeface="Montserrat" panose="00000500000000000000" pitchFamily="2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  <a:latin typeface="Montserrat" panose="00000500000000000000" pitchFamily="2" charset="0"/>
              </a:rPr>
              <a:t>Strengthen teamwork through projects and regular interactions.</a:t>
            </a:r>
          </a:p>
          <a:p>
            <a:pPr algn="l"/>
            <a:endParaRPr lang="en-US" sz="1400" dirty="0">
              <a:solidFill>
                <a:schemeClr val="accent1"/>
              </a:solidFill>
              <a:latin typeface="Montserrat" panose="00000500000000000000" pitchFamily="2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  <a:latin typeface="Montserrat" panose="00000500000000000000" pitchFamily="2" charset="0"/>
              </a:rPr>
              <a:t>Seek continuous feedback from supervisors and peers to identify strengths and areas for improvement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1"/>
              </a:solidFill>
              <a:latin typeface="Montserrat" panose="00000500000000000000" pitchFamily="2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  <a:latin typeface="Montserrat" panose="00000500000000000000" pitchFamily="2" charset="0"/>
              </a:rPr>
              <a:t>Develop professional relationships with team members with the OI team and other department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1"/>
              </a:solidFill>
              <a:latin typeface="Montserrat" panose="00000500000000000000" pitchFamily="2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1"/>
              </a:solidFill>
              <a:latin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837412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866F68-C0D7-EEE5-451A-7AF1849C82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563DF6-E3F5-F1AC-0754-C613D31F3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8309" y="6583680"/>
            <a:ext cx="484909" cy="274320"/>
          </a:xfrm>
        </p:spPr>
        <p:txBody>
          <a:bodyPr/>
          <a:lstStyle/>
          <a:p>
            <a:fld id="{8BC64C03-9EC0-4B7E-8FE4-24DBF62E63E5}" type="slidenum">
              <a:rPr lang="en-US" smtClean="0"/>
              <a:t>30</a:t>
            </a:fld>
            <a:endParaRPr lang="en-US"/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F824790B-956D-8FCB-8EA8-DAE3991C9023}"/>
              </a:ext>
            </a:extLst>
          </p:cNvPr>
          <p:cNvGraphicFramePr/>
          <p:nvPr/>
        </p:nvGraphicFramePr>
        <p:xfrm>
          <a:off x="257183" y="3429000"/>
          <a:ext cx="10841987" cy="16549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D268DAD8-F253-9611-B92A-8D44755780EB}"/>
              </a:ext>
            </a:extLst>
          </p:cNvPr>
          <p:cNvGraphicFramePr/>
          <p:nvPr/>
        </p:nvGraphicFramePr>
        <p:xfrm>
          <a:off x="-305490" y="5083982"/>
          <a:ext cx="11173055" cy="13379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5B3CFA59-11B4-D00E-B6EE-145CE19ECF89}"/>
              </a:ext>
            </a:extLst>
          </p:cNvPr>
          <p:cNvSpPr txBox="1"/>
          <p:nvPr/>
        </p:nvSpPr>
        <p:spPr>
          <a:xfrm>
            <a:off x="169009" y="153373"/>
            <a:ext cx="114788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400" b="1">
                <a:solidFill>
                  <a:schemeClr val="accent1"/>
                </a:solidFill>
                <a:latin typeface="Montserrat" panose="00000500000000000000" pitchFamily="2" charset="0"/>
              </a:defRPr>
            </a:lvl1pPr>
          </a:lstStyle>
          <a:p>
            <a:r>
              <a:rPr lang="en-US">
                <a:solidFill>
                  <a:schemeClr val="accent3"/>
                </a:solidFill>
              </a:rPr>
              <a:t>~$1B (17%)</a:t>
            </a:r>
            <a:r>
              <a:rPr lang="en-US"/>
              <a:t> is OOS Savings concentrated in Professional &amp; Outpatient claim typ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2C0DD4E-C440-508F-0753-E653FD8064D5}"/>
              </a:ext>
            </a:extLst>
          </p:cNvPr>
          <p:cNvGrpSpPr/>
          <p:nvPr/>
        </p:nvGrpSpPr>
        <p:grpSpPr>
          <a:xfrm>
            <a:off x="459912" y="786585"/>
            <a:ext cx="6882472" cy="2187940"/>
            <a:chOff x="240066" y="3918522"/>
            <a:chExt cx="5359138" cy="2187940"/>
          </a:xfrm>
        </p:grpSpPr>
        <p:graphicFrame>
          <p:nvGraphicFramePr>
            <p:cNvPr id="6" name="Chart 5">
              <a:extLst>
                <a:ext uri="{FF2B5EF4-FFF2-40B4-BE49-F238E27FC236}">
                  <a16:creationId xmlns:a16="http://schemas.microsoft.com/office/drawing/2014/main" id="{A41464C5-7248-DF08-10D4-86F0B4DA3CA7}"/>
                </a:ext>
              </a:extLst>
            </p:cNvPr>
            <p:cNvGraphicFramePr/>
            <p:nvPr/>
          </p:nvGraphicFramePr>
          <p:xfrm>
            <a:off x="240066" y="3918522"/>
            <a:ext cx="5271339" cy="133553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graphicFrame>
          <p:nvGraphicFramePr>
            <p:cNvPr id="7" name="Chart 6">
              <a:extLst>
                <a:ext uri="{FF2B5EF4-FFF2-40B4-BE49-F238E27FC236}">
                  <a16:creationId xmlns:a16="http://schemas.microsoft.com/office/drawing/2014/main" id="{CFEFCD4D-00DB-324F-0A95-345C3AB149E1}"/>
                </a:ext>
              </a:extLst>
            </p:cNvPr>
            <p:cNvGraphicFramePr/>
            <p:nvPr/>
          </p:nvGraphicFramePr>
          <p:xfrm>
            <a:off x="408081" y="5106941"/>
            <a:ext cx="5191123" cy="98255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49CA2D-DE06-1CC4-72B3-71947AD9CD37}"/>
                </a:ext>
              </a:extLst>
            </p:cNvPr>
            <p:cNvGrpSpPr/>
            <p:nvPr/>
          </p:nvGrpSpPr>
          <p:grpSpPr>
            <a:xfrm>
              <a:off x="2475806" y="5906937"/>
              <a:ext cx="1308361" cy="199525"/>
              <a:chOff x="1817438" y="6041367"/>
              <a:chExt cx="1308361" cy="199525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D220C577-231C-7321-3FB6-542859F4E52B}"/>
                  </a:ext>
                </a:extLst>
              </p:cNvPr>
              <p:cNvSpPr/>
              <p:nvPr/>
            </p:nvSpPr>
            <p:spPr>
              <a:xfrm>
                <a:off x="1817438" y="6115517"/>
                <a:ext cx="91440" cy="9144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6E9F8AAB-3C79-2842-9C0C-8BE75CF5DF0B}"/>
                  </a:ext>
                </a:extLst>
              </p:cNvPr>
              <p:cNvSpPr txBox="1"/>
              <p:nvPr/>
            </p:nvSpPr>
            <p:spPr>
              <a:xfrm>
                <a:off x="1908877" y="6043187"/>
                <a:ext cx="741444" cy="197705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1000"/>
                  <a:t>Not OSS</a:t>
                </a: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9AEC65D-5DF5-C859-DA89-1057ADE6CAAD}"/>
                  </a:ext>
                </a:extLst>
              </p:cNvPr>
              <p:cNvSpPr/>
              <p:nvPr/>
            </p:nvSpPr>
            <p:spPr>
              <a:xfrm>
                <a:off x="2543361" y="6113698"/>
                <a:ext cx="91440" cy="9144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12" name="TextBox 8">
                <a:extLst>
                  <a:ext uri="{FF2B5EF4-FFF2-40B4-BE49-F238E27FC236}">
                    <a16:creationId xmlns:a16="http://schemas.microsoft.com/office/drawing/2014/main" id="{23539639-4587-0CB4-6538-490074E8469B}"/>
                  </a:ext>
                </a:extLst>
              </p:cNvPr>
              <p:cNvSpPr txBox="1"/>
              <p:nvPr/>
            </p:nvSpPr>
            <p:spPr>
              <a:xfrm>
                <a:off x="2652684" y="6041367"/>
                <a:ext cx="473115" cy="199525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1000"/>
                  <a:t>OS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3037864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ED4C26-008B-4F0A-FF6E-FA22418D78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237C49-971B-3DB4-B165-BDE9F1E3FA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31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70EEE9D-EEBB-2244-5DE2-FE681475FF4A}"/>
              </a:ext>
            </a:extLst>
          </p:cNvPr>
          <p:cNvGrpSpPr/>
          <p:nvPr/>
        </p:nvGrpSpPr>
        <p:grpSpPr>
          <a:xfrm>
            <a:off x="5135480" y="389445"/>
            <a:ext cx="7056520" cy="5885774"/>
            <a:chOff x="-1651819" y="342311"/>
            <a:chExt cx="7056520" cy="5885774"/>
          </a:xfrm>
        </p:grpSpPr>
        <p:graphicFrame>
          <p:nvGraphicFramePr>
            <p:cNvPr id="8" name="Chart 7">
              <a:extLst>
                <a:ext uri="{FF2B5EF4-FFF2-40B4-BE49-F238E27FC236}">
                  <a16:creationId xmlns:a16="http://schemas.microsoft.com/office/drawing/2014/main" id="{413CD125-F3BD-C257-3C80-3C1CDD63A6D2}"/>
                </a:ext>
              </a:extLst>
            </p:cNvPr>
            <p:cNvGraphicFramePr/>
            <p:nvPr/>
          </p:nvGraphicFramePr>
          <p:xfrm>
            <a:off x="-1651819" y="871897"/>
            <a:ext cx="6597444" cy="511420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773A56F-1F8E-57A0-FD4E-34F4B85B49D8}"/>
                </a:ext>
              </a:extLst>
            </p:cNvPr>
            <p:cNvSpPr txBox="1"/>
            <p:nvPr/>
          </p:nvSpPr>
          <p:spPr>
            <a:xfrm>
              <a:off x="-244893" y="342311"/>
              <a:ext cx="564959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accent1"/>
                  </a:solidFill>
                  <a:latin typeface="Montserrat" panose="00000500000000000000" pitchFamily="2" charset="0"/>
                </a:rPr>
                <a:t>Top 10 DP Keys contributing to $66M Savings  from OOS 1-5 Days </a:t>
              </a:r>
              <a:endParaRPr lang="en-US" sz="1400" dirty="0">
                <a:solidFill>
                  <a:schemeClr val="accent3"/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2277FA6-91A5-E781-89D2-26283D687D46}"/>
                </a:ext>
              </a:extLst>
            </p:cNvPr>
            <p:cNvSpPr txBox="1"/>
            <p:nvPr/>
          </p:nvSpPr>
          <p:spPr>
            <a:xfrm>
              <a:off x="950888" y="5965614"/>
              <a:ext cx="2128890" cy="26247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050"/>
                <a:t>Total Unique DP Keys: 1012</a:t>
              </a:r>
            </a:p>
          </p:txBody>
        </p:sp>
      </p:grpSp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E371DAD7-6374-30DC-2B84-4471B59A49BC}"/>
              </a:ext>
            </a:extLst>
          </p:cNvPr>
          <p:cNvSpPr txBox="1">
            <a:spLocks/>
          </p:cNvSpPr>
          <p:nvPr/>
        </p:nvSpPr>
        <p:spPr>
          <a:xfrm>
            <a:off x="13127853" y="6379602"/>
            <a:ext cx="484909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BC64C03-9EC0-4B7E-8FE4-24DBF62E63E5}" type="slidenum">
              <a:rPr lang="en-US" smtClean="0"/>
              <a:pPr/>
              <a:t>31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529EDF7-BBC3-3C42-7A9F-3A3BCCC6EBDF}"/>
              </a:ext>
            </a:extLst>
          </p:cNvPr>
          <p:cNvGrpSpPr/>
          <p:nvPr/>
        </p:nvGrpSpPr>
        <p:grpSpPr>
          <a:xfrm>
            <a:off x="-129376" y="174001"/>
            <a:ext cx="5840362" cy="6205601"/>
            <a:chOff x="6192041" y="22484"/>
            <a:chExt cx="5840362" cy="6205601"/>
          </a:xfrm>
        </p:grpSpPr>
        <p:graphicFrame>
          <p:nvGraphicFramePr>
            <p:cNvPr id="4" name="Chart 3">
              <a:extLst>
                <a:ext uri="{FF2B5EF4-FFF2-40B4-BE49-F238E27FC236}">
                  <a16:creationId xmlns:a16="http://schemas.microsoft.com/office/drawing/2014/main" id="{F3D2C64C-F083-FA27-50AD-8245E54F84B9}"/>
                </a:ext>
              </a:extLst>
            </p:cNvPr>
            <p:cNvGraphicFramePr/>
            <p:nvPr/>
          </p:nvGraphicFramePr>
          <p:xfrm>
            <a:off x="6192041" y="1052234"/>
            <a:ext cx="5840362" cy="475353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B5053B2-9ED9-53C5-2605-70360B88D700}"/>
                </a:ext>
              </a:extLst>
            </p:cNvPr>
            <p:cNvSpPr txBox="1"/>
            <p:nvPr/>
          </p:nvSpPr>
          <p:spPr>
            <a:xfrm>
              <a:off x="6578970" y="22484"/>
              <a:ext cx="545343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sz="1400" dirty="0">
                <a:solidFill>
                  <a:schemeClr val="accent1"/>
                </a:solidFill>
                <a:latin typeface="Montserrat" panose="00000500000000000000" pitchFamily="2" charset="0"/>
              </a:endParaRPr>
            </a:p>
            <a:p>
              <a:r>
                <a:rPr lang="en-US" sz="1400" dirty="0">
                  <a:solidFill>
                    <a:schemeClr val="accent1"/>
                  </a:solidFill>
                  <a:latin typeface="Montserrat" panose="00000500000000000000" pitchFamily="2" charset="0"/>
                </a:rPr>
                <a:t>Top 10 Clients contributing  $63.5M Savings from OOS 1-5 Days </a:t>
              </a:r>
              <a:endParaRPr lang="en-US" sz="1400" dirty="0">
                <a:solidFill>
                  <a:schemeClr val="accent3"/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65E8AEE-4A29-13A6-39D9-1F32072481AA}"/>
                </a:ext>
              </a:extLst>
            </p:cNvPr>
            <p:cNvSpPr txBox="1"/>
            <p:nvPr/>
          </p:nvSpPr>
          <p:spPr>
            <a:xfrm>
              <a:off x="8047777" y="5965614"/>
              <a:ext cx="2128890" cy="26247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n-US" sz="1050"/>
                <a:t>Total Clients: 30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867200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22FAD5-E355-1F2D-2820-C8E3410492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644187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4608D81F-7511-F133-CCCE-2B77D87B5C6A}"/>
              </a:ext>
            </a:extLst>
          </p:cNvPr>
          <p:cNvSpPr/>
          <p:nvPr/>
        </p:nvSpPr>
        <p:spPr>
          <a:xfrm rot="10800000">
            <a:off x="7802873" y="2919066"/>
            <a:ext cx="2395716" cy="1197858"/>
          </a:xfrm>
          <a:custGeom>
            <a:avLst/>
            <a:gdLst>
              <a:gd name="connsiteX0" fmla="*/ 1197858 w 2395716"/>
              <a:gd name="connsiteY0" fmla="*/ 0 h 1197858"/>
              <a:gd name="connsiteX1" fmla="*/ 2395716 w 2395716"/>
              <a:gd name="connsiteY1" fmla="*/ 1197858 h 1197858"/>
              <a:gd name="connsiteX2" fmla="*/ 2019517 w 2395716"/>
              <a:gd name="connsiteY2" fmla="*/ 1197858 h 1197858"/>
              <a:gd name="connsiteX3" fmla="*/ 1197858 w 2395716"/>
              <a:gd name="connsiteY3" fmla="*/ 376199 h 1197858"/>
              <a:gd name="connsiteX4" fmla="*/ 376199 w 2395716"/>
              <a:gd name="connsiteY4" fmla="*/ 1197858 h 1197858"/>
              <a:gd name="connsiteX5" fmla="*/ 0 w 2395716"/>
              <a:gd name="connsiteY5" fmla="*/ 1197858 h 1197858"/>
              <a:gd name="connsiteX6" fmla="*/ 1197858 w 2395716"/>
              <a:gd name="connsiteY6" fmla="*/ 0 h 1197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95716" h="1197858">
                <a:moveTo>
                  <a:pt x="1197858" y="0"/>
                </a:moveTo>
                <a:cubicBezTo>
                  <a:pt x="1859417" y="0"/>
                  <a:pt x="2395716" y="536299"/>
                  <a:pt x="2395716" y="1197858"/>
                </a:cubicBezTo>
                <a:lnTo>
                  <a:pt x="2019517" y="1197858"/>
                </a:lnTo>
                <a:cubicBezTo>
                  <a:pt x="2019517" y="744068"/>
                  <a:pt x="1651648" y="376199"/>
                  <a:pt x="1197858" y="376199"/>
                </a:cubicBezTo>
                <a:cubicBezTo>
                  <a:pt x="744068" y="376199"/>
                  <a:pt x="376199" y="744068"/>
                  <a:pt x="376199" y="1197858"/>
                </a:cubicBezTo>
                <a:lnTo>
                  <a:pt x="0" y="1197858"/>
                </a:lnTo>
                <a:cubicBezTo>
                  <a:pt x="0" y="536299"/>
                  <a:pt x="536299" y="0"/>
                  <a:pt x="119785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3AB0CD46-E7E1-2BE0-8AF9-C810BEC03F4B}"/>
              </a:ext>
            </a:extLst>
          </p:cNvPr>
          <p:cNvSpPr/>
          <p:nvPr/>
        </p:nvSpPr>
        <p:spPr>
          <a:xfrm>
            <a:off x="5779008" y="1721208"/>
            <a:ext cx="2395716" cy="1197858"/>
          </a:xfrm>
          <a:custGeom>
            <a:avLst/>
            <a:gdLst>
              <a:gd name="connsiteX0" fmla="*/ 1197858 w 2395716"/>
              <a:gd name="connsiteY0" fmla="*/ 0 h 1197858"/>
              <a:gd name="connsiteX1" fmla="*/ 2395716 w 2395716"/>
              <a:gd name="connsiteY1" fmla="*/ 1197858 h 1197858"/>
              <a:gd name="connsiteX2" fmla="*/ 2019517 w 2395716"/>
              <a:gd name="connsiteY2" fmla="*/ 1197858 h 1197858"/>
              <a:gd name="connsiteX3" fmla="*/ 1197858 w 2395716"/>
              <a:gd name="connsiteY3" fmla="*/ 376199 h 1197858"/>
              <a:gd name="connsiteX4" fmla="*/ 376199 w 2395716"/>
              <a:gd name="connsiteY4" fmla="*/ 1197858 h 1197858"/>
              <a:gd name="connsiteX5" fmla="*/ 0 w 2395716"/>
              <a:gd name="connsiteY5" fmla="*/ 1197858 h 1197858"/>
              <a:gd name="connsiteX6" fmla="*/ 1197858 w 2395716"/>
              <a:gd name="connsiteY6" fmla="*/ 0 h 1197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95716" h="1197858">
                <a:moveTo>
                  <a:pt x="1197858" y="0"/>
                </a:moveTo>
                <a:cubicBezTo>
                  <a:pt x="1859417" y="0"/>
                  <a:pt x="2395716" y="536299"/>
                  <a:pt x="2395716" y="1197858"/>
                </a:cubicBezTo>
                <a:lnTo>
                  <a:pt x="2019517" y="1197858"/>
                </a:lnTo>
                <a:cubicBezTo>
                  <a:pt x="2019517" y="744068"/>
                  <a:pt x="1651648" y="376199"/>
                  <a:pt x="1197858" y="376199"/>
                </a:cubicBezTo>
                <a:cubicBezTo>
                  <a:pt x="744068" y="376199"/>
                  <a:pt x="376199" y="744068"/>
                  <a:pt x="376199" y="1197858"/>
                </a:cubicBezTo>
                <a:lnTo>
                  <a:pt x="0" y="1197858"/>
                </a:lnTo>
                <a:cubicBezTo>
                  <a:pt x="0" y="536299"/>
                  <a:pt x="536299" y="0"/>
                  <a:pt x="119785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28AAB49-F358-7AB4-4A33-32F39137C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33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0A942C0-18EF-E33D-DFE4-F994862DB0C0}"/>
              </a:ext>
            </a:extLst>
          </p:cNvPr>
          <p:cNvSpPr txBox="1"/>
          <p:nvPr/>
        </p:nvSpPr>
        <p:spPr>
          <a:xfrm>
            <a:off x="81480" y="72429"/>
            <a:ext cx="4628442" cy="56973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2400" b="1">
                <a:solidFill>
                  <a:schemeClr val="accent1"/>
                </a:solidFill>
                <a:latin typeface="Montserrat" panose="00000500000000000000" pitchFamily="2" charset="0"/>
              </a:rPr>
              <a:t>Web crawling workflow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E99C9BF-2A71-4F43-E62A-9094BCE09DBA}"/>
              </a:ext>
            </a:extLst>
          </p:cNvPr>
          <p:cNvSpPr/>
          <p:nvPr/>
        </p:nvSpPr>
        <p:spPr>
          <a:xfrm>
            <a:off x="2441448" y="2425290"/>
            <a:ext cx="987552" cy="987552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0232229E-36D2-65F1-A4C9-0FEF6BAB357D}"/>
              </a:ext>
            </a:extLst>
          </p:cNvPr>
          <p:cNvSpPr/>
          <p:nvPr/>
        </p:nvSpPr>
        <p:spPr>
          <a:xfrm>
            <a:off x="1737366" y="1721208"/>
            <a:ext cx="2395716" cy="1197858"/>
          </a:xfrm>
          <a:custGeom>
            <a:avLst/>
            <a:gdLst>
              <a:gd name="connsiteX0" fmla="*/ 1197858 w 2395716"/>
              <a:gd name="connsiteY0" fmla="*/ 0 h 1197858"/>
              <a:gd name="connsiteX1" fmla="*/ 2395716 w 2395716"/>
              <a:gd name="connsiteY1" fmla="*/ 1197858 h 1197858"/>
              <a:gd name="connsiteX2" fmla="*/ 2019517 w 2395716"/>
              <a:gd name="connsiteY2" fmla="*/ 1197858 h 1197858"/>
              <a:gd name="connsiteX3" fmla="*/ 1197858 w 2395716"/>
              <a:gd name="connsiteY3" fmla="*/ 376199 h 1197858"/>
              <a:gd name="connsiteX4" fmla="*/ 376199 w 2395716"/>
              <a:gd name="connsiteY4" fmla="*/ 1197858 h 1197858"/>
              <a:gd name="connsiteX5" fmla="*/ 0 w 2395716"/>
              <a:gd name="connsiteY5" fmla="*/ 1197858 h 1197858"/>
              <a:gd name="connsiteX6" fmla="*/ 1197858 w 2395716"/>
              <a:gd name="connsiteY6" fmla="*/ 0 h 1197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95716" h="1197858">
                <a:moveTo>
                  <a:pt x="1197858" y="0"/>
                </a:moveTo>
                <a:cubicBezTo>
                  <a:pt x="1859417" y="0"/>
                  <a:pt x="2395716" y="536299"/>
                  <a:pt x="2395716" y="1197858"/>
                </a:cubicBezTo>
                <a:lnTo>
                  <a:pt x="2019517" y="1197858"/>
                </a:lnTo>
                <a:cubicBezTo>
                  <a:pt x="2019517" y="744068"/>
                  <a:pt x="1651648" y="376199"/>
                  <a:pt x="1197858" y="376199"/>
                </a:cubicBezTo>
                <a:cubicBezTo>
                  <a:pt x="744068" y="376199"/>
                  <a:pt x="376199" y="744068"/>
                  <a:pt x="376199" y="1197858"/>
                </a:cubicBezTo>
                <a:lnTo>
                  <a:pt x="0" y="1197858"/>
                </a:lnTo>
                <a:cubicBezTo>
                  <a:pt x="0" y="536299"/>
                  <a:pt x="536299" y="0"/>
                  <a:pt x="119785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6F016014-325B-ACAF-3F67-6088063FEF61}"/>
              </a:ext>
            </a:extLst>
          </p:cNvPr>
          <p:cNvSpPr/>
          <p:nvPr/>
        </p:nvSpPr>
        <p:spPr>
          <a:xfrm>
            <a:off x="3755142" y="1721208"/>
            <a:ext cx="2395716" cy="1197858"/>
          </a:xfrm>
          <a:custGeom>
            <a:avLst/>
            <a:gdLst>
              <a:gd name="connsiteX0" fmla="*/ 1197858 w 2395716"/>
              <a:gd name="connsiteY0" fmla="*/ 0 h 1197858"/>
              <a:gd name="connsiteX1" fmla="*/ 2395716 w 2395716"/>
              <a:gd name="connsiteY1" fmla="*/ 1197858 h 1197858"/>
              <a:gd name="connsiteX2" fmla="*/ 2019517 w 2395716"/>
              <a:gd name="connsiteY2" fmla="*/ 1197858 h 1197858"/>
              <a:gd name="connsiteX3" fmla="*/ 1197858 w 2395716"/>
              <a:gd name="connsiteY3" fmla="*/ 376199 h 1197858"/>
              <a:gd name="connsiteX4" fmla="*/ 376199 w 2395716"/>
              <a:gd name="connsiteY4" fmla="*/ 1197858 h 1197858"/>
              <a:gd name="connsiteX5" fmla="*/ 0 w 2395716"/>
              <a:gd name="connsiteY5" fmla="*/ 1197858 h 1197858"/>
              <a:gd name="connsiteX6" fmla="*/ 1197858 w 2395716"/>
              <a:gd name="connsiteY6" fmla="*/ 0 h 1197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95716" h="1197858">
                <a:moveTo>
                  <a:pt x="1197858" y="0"/>
                </a:moveTo>
                <a:cubicBezTo>
                  <a:pt x="1859417" y="0"/>
                  <a:pt x="2395716" y="536299"/>
                  <a:pt x="2395716" y="1197858"/>
                </a:cubicBezTo>
                <a:lnTo>
                  <a:pt x="2019517" y="1197858"/>
                </a:lnTo>
                <a:cubicBezTo>
                  <a:pt x="2019517" y="744068"/>
                  <a:pt x="1651648" y="376199"/>
                  <a:pt x="1197858" y="376199"/>
                </a:cubicBezTo>
                <a:cubicBezTo>
                  <a:pt x="744068" y="376199"/>
                  <a:pt x="376199" y="744068"/>
                  <a:pt x="376199" y="1197858"/>
                </a:cubicBezTo>
                <a:lnTo>
                  <a:pt x="0" y="1197858"/>
                </a:lnTo>
                <a:cubicBezTo>
                  <a:pt x="0" y="536299"/>
                  <a:pt x="536299" y="0"/>
                  <a:pt x="119785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3ED9098A-0677-5A03-2186-F3EE7E7907A8}"/>
              </a:ext>
            </a:extLst>
          </p:cNvPr>
          <p:cNvSpPr/>
          <p:nvPr/>
        </p:nvSpPr>
        <p:spPr>
          <a:xfrm rot="10800000">
            <a:off x="3755142" y="2919066"/>
            <a:ext cx="2395716" cy="1197858"/>
          </a:xfrm>
          <a:custGeom>
            <a:avLst/>
            <a:gdLst>
              <a:gd name="connsiteX0" fmla="*/ 1197858 w 2395716"/>
              <a:gd name="connsiteY0" fmla="*/ 0 h 1197858"/>
              <a:gd name="connsiteX1" fmla="*/ 2395716 w 2395716"/>
              <a:gd name="connsiteY1" fmla="*/ 1197858 h 1197858"/>
              <a:gd name="connsiteX2" fmla="*/ 2019517 w 2395716"/>
              <a:gd name="connsiteY2" fmla="*/ 1197858 h 1197858"/>
              <a:gd name="connsiteX3" fmla="*/ 1197858 w 2395716"/>
              <a:gd name="connsiteY3" fmla="*/ 376199 h 1197858"/>
              <a:gd name="connsiteX4" fmla="*/ 376199 w 2395716"/>
              <a:gd name="connsiteY4" fmla="*/ 1197858 h 1197858"/>
              <a:gd name="connsiteX5" fmla="*/ 0 w 2395716"/>
              <a:gd name="connsiteY5" fmla="*/ 1197858 h 1197858"/>
              <a:gd name="connsiteX6" fmla="*/ 1197858 w 2395716"/>
              <a:gd name="connsiteY6" fmla="*/ 0 h 1197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95716" h="1197858">
                <a:moveTo>
                  <a:pt x="1197858" y="0"/>
                </a:moveTo>
                <a:cubicBezTo>
                  <a:pt x="1859417" y="0"/>
                  <a:pt x="2395716" y="536299"/>
                  <a:pt x="2395716" y="1197858"/>
                </a:cubicBezTo>
                <a:lnTo>
                  <a:pt x="2019517" y="1197858"/>
                </a:lnTo>
                <a:cubicBezTo>
                  <a:pt x="2019517" y="744068"/>
                  <a:pt x="1651648" y="376199"/>
                  <a:pt x="1197858" y="376199"/>
                </a:cubicBezTo>
                <a:cubicBezTo>
                  <a:pt x="744068" y="376199"/>
                  <a:pt x="376199" y="744068"/>
                  <a:pt x="376199" y="1197858"/>
                </a:cubicBezTo>
                <a:lnTo>
                  <a:pt x="0" y="1197858"/>
                </a:lnTo>
                <a:cubicBezTo>
                  <a:pt x="0" y="536299"/>
                  <a:pt x="536299" y="0"/>
                  <a:pt x="119785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269675C0-FCB4-75F5-BE08-1C42E04E7661}"/>
              </a:ext>
            </a:extLst>
          </p:cNvPr>
          <p:cNvSpPr/>
          <p:nvPr/>
        </p:nvSpPr>
        <p:spPr>
          <a:xfrm rot="10800000">
            <a:off x="1737366" y="2919066"/>
            <a:ext cx="2395716" cy="1197858"/>
          </a:xfrm>
          <a:custGeom>
            <a:avLst/>
            <a:gdLst>
              <a:gd name="connsiteX0" fmla="*/ 1197858 w 2395716"/>
              <a:gd name="connsiteY0" fmla="*/ 0 h 1197858"/>
              <a:gd name="connsiteX1" fmla="*/ 2395716 w 2395716"/>
              <a:gd name="connsiteY1" fmla="*/ 1197858 h 1197858"/>
              <a:gd name="connsiteX2" fmla="*/ 2019517 w 2395716"/>
              <a:gd name="connsiteY2" fmla="*/ 1197858 h 1197858"/>
              <a:gd name="connsiteX3" fmla="*/ 1197858 w 2395716"/>
              <a:gd name="connsiteY3" fmla="*/ 376199 h 1197858"/>
              <a:gd name="connsiteX4" fmla="*/ 376199 w 2395716"/>
              <a:gd name="connsiteY4" fmla="*/ 1197858 h 1197858"/>
              <a:gd name="connsiteX5" fmla="*/ 0 w 2395716"/>
              <a:gd name="connsiteY5" fmla="*/ 1197858 h 1197858"/>
              <a:gd name="connsiteX6" fmla="*/ 1197858 w 2395716"/>
              <a:gd name="connsiteY6" fmla="*/ 0 h 1197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95716" h="1197858">
                <a:moveTo>
                  <a:pt x="1197858" y="0"/>
                </a:moveTo>
                <a:cubicBezTo>
                  <a:pt x="1859417" y="0"/>
                  <a:pt x="2395716" y="536299"/>
                  <a:pt x="2395716" y="1197858"/>
                </a:cubicBezTo>
                <a:lnTo>
                  <a:pt x="2019517" y="1197858"/>
                </a:lnTo>
                <a:cubicBezTo>
                  <a:pt x="2019517" y="744068"/>
                  <a:pt x="1651648" y="376199"/>
                  <a:pt x="1197858" y="376199"/>
                </a:cubicBezTo>
                <a:cubicBezTo>
                  <a:pt x="744068" y="376199"/>
                  <a:pt x="376199" y="744068"/>
                  <a:pt x="376199" y="1197858"/>
                </a:cubicBezTo>
                <a:lnTo>
                  <a:pt x="0" y="1197858"/>
                </a:lnTo>
                <a:cubicBezTo>
                  <a:pt x="0" y="536299"/>
                  <a:pt x="536299" y="0"/>
                  <a:pt x="1197858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72790186-BB92-A1FA-6546-C4B8DF5CA08E}"/>
              </a:ext>
            </a:extLst>
          </p:cNvPr>
          <p:cNvSpPr/>
          <p:nvPr/>
        </p:nvSpPr>
        <p:spPr>
          <a:xfrm rot="10800000">
            <a:off x="5779008" y="2919066"/>
            <a:ext cx="2395716" cy="1197858"/>
          </a:xfrm>
          <a:custGeom>
            <a:avLst/>
            <a:gdLst>
              <a:gd name="connsiteX0" fmla="*/ 1197858 w 2395716"/>
              <a:gd name="connsiteY0" fmla="*/ 0 h 1197858"/>
              <a:gd name="connsiteX1" fmla="*/ 2395716 w 2395716"/>
              <a:gd name="connsiteY1" fmla="*/ 1197858 h 1197858"/>
              <a:gd name="connsiteX2" fmla="*/ 2019517 w 2395716"/>
              <a:gd name="connsiteY2" fmla="*/ 1197858 h 1197858"/>
              <a:gd name="connsiteX3" fmla="*/ 1197858 w 2395716"/>
              <a:gd name="connsiteY3" fmla="*/ 376199 h 1197858"/>
              <a:gd name="connsiteX4" fmla="*/ 376199 w 2395716"/>
              <a:gd name="connsiteY4" fmla="*/ 1197858 h 1197858"/>
              <a:gd name="connsiteX5" fmla="*/ 0 w 2395716"/>
              <a:gd name="connsiteY5" fmla="*/ 1197858 h 1197858"/>
              <a:gd name="connsiteX6" fmla="*/ 1197858 w 2395716"/>
              <a:gd name="connsiteY6" fmla="*/ 0 h 1197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95716" h="1197858">
                <a:moveTo>
                  <a:pt x="1197858" y="0"/>
                </a:moveTo>
                <a:cubicBezTo>
                  <a:pt x="1859417" y="0"/>
                  <a:pt x="2395716" y="536299"/>
                  <a:pt x="2395716" y="1197858"/>
                </a:cubicBezTo>
                <a:lnTo>
                  <a:pt x="2019517" y="1197858"/>
                </a:lnTo>
                <a:cubicBezTo>
                  <a:pt x="2019517" y="744068"/>
                  <a:pt x="1651648" y="376199"/>
                  <a:pt x="1197858" y="376199"/>
                </a:cubicBezTo>
                <a:cubicBezTo>
                  <a:pt x="744068" y="376199"/>
                  <a:pt x="376199" y="744068"/>
                  <a:pt x="376199" y="1197858"/>
                </a:cubicBezTo>
                <a:lnTo>
                  <a:pt x="0" y="1197858"/>
                </a:lnTo>
                <a:cubicBezTo>
                  <a:pt x="0" y="536299"/>
                  <a:pt x="536299" y="0"/>
                  <a:pt x="119785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376CCB68-9367-4ECA-F86D-4EE902637E95}"/>
              </a:ext>
            </a:extLst>
          </p:cNvPr>
          <p:cNvSpPr/>
          <p:nvPr/>
        </p:nvSpPr>
        <p:spPr>
          <a:xfrm>
            <a:off x="7802873" y="1721208"/>
            <a:ext cx="2395716" cy="1197858"/>
          </a:xfrm>
          <a:custGeom>
            <a:avLst/>
            <a:gdLst>
              <a:gd name="connsiteX0" fmla="*/ 1197858 w 2395716"/>
              <a:gd name="connsiteY0" fmla="*/ 0 h 1197858"/>
              <a:gd name="connsiteX1" fmla="*/ 2395716 w 2395716"/>
              <a:gd name="connsiteY1" fmla="*/ 1197858 h 1197858"/>
              <a:gd name="connsiteX2" fmla="*/ 2019517 w 2395716"/>
              <a:gd name="connsiteY2" fmla="*/ 1197858 h 1197858"/>
              <a:gd name="connsiteX3" fmla="*/ 1197858 w 2395716"/>
              <a:gd name="connsiteY3" fmla="*/ 376199 h 1197858"/>
              <a:gd name="connsiteX4" fmla="*/ 376199 w 2395716"/>
              <a:gd name="connsiteY4" fmla="*/ 1197858 h 1197858"/>
              <a:gd name="connsiteX5" fmla="*/ 0 w 2395716"/>
              <a:gd name="connsiteY5" fmla="*/ 1197858 h 1197858"/>
              <a:gd name="connsiteX6" fmla="*/ 1197858 w 2395716"/>
              <a:gd name="connsiteY6" fmla="*/ 0 h 1197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95716" h="1197858">
                <a:moveTo>
                  <a:pt x="1197858" y="0"/>
                </a:moveTo>
                <a:cubicBezTo>
                  <a:pt x="1859417" y="0"/>
                  <a:pt x="2395716" y="536299"/>
                  <a:pt x="2395716" y="1197858"/>
                </a:cubicBezTo>
                <a:lnTo>
                  <a:pt x="2019517" y="1197858"/>
                </a:lnTo>
                <a:cubicBezTo>
                  <a:pt x="2019517" y="744068"/>
                  <a:pt x="1651648" y="376199"/>
                  <a:pt x="1197858" y="376199"/>
                </a:cubicBezTo>
                <a:cubicBezTo>
                  <a:pt x="744068" y="376199"/>
                  <a:pt x="376199" y="744068"/>
                  <a:pt x="376199" y="1197858"/>
                </a:cubicBezTo>
                <a:lnTo>
                  <a:pt x="0" y="1197858"/>
                </a:lnTo>
                <a:cubicBezTo>
                  <a:pt x="0" y="536299"/>
                  <a:pt x="536299" y="0"/>
                  <a:pt x="119785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AFBF3554-A6C5-1CBD-C7E5-9A863539B8AF}"/>
              </a:ext>
            </a:extLst>
          </p:cNvPr>
          <p:cNvSpPr/>
          <p:nvPr/>
        </p:nvSpPr>
        <p:spPr>
          <a:xfrm>
            <a:off x="2695960" y="1017126"/>
            <a:ext cx="486152" cy="4716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1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0DBC979-1A16-5DD6-D034-6FFFAFAE2E59}"/>
              </a:ext>
            </a:extLst>
          </p:cNvPr>
          <p:cNvSpPr txBox="1"/>
          <p:nvPr/>
        </p:nvSpPr>
        <p:spPr>
          <a:xfrm>
            <a:off x="2068731" y="4283640"/>
            <a:ext cx="1732985" cy="60276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100">
                <a:latin typeface="+mj-lt"/>
              </a:rPr>
              <a:t>Visit and understand the website structure for a stat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E0EAC7D-B954-05B9-DD31-5023B58648C5}"/>
              </a:ext>
            </a:extLst>
          </p:cNvPr>
          <p:cNvSpPr txBox="1"/>
          <p:nvPr/>
        </p:nvSpPr>
        <p:spPr>
          <a:xfrm>
            <a:off x="4086506" y="926048"/>
            <a:ext cx="1875382" cy="71072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100">
                <a:latin typeface="+mj-lt"/>
              </a:rPr>
              <a:t>Decide the optimum approach to scrape data from the website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FDEB367-8C38-A3AA-F244-A40488639A86}"/>
              </a:ext>
            </a:extLst>
          </p:cNvPr>
          <p:cNvSpPr txBox="1"/>
          <p:nvPr/>
        </p:nvSpPr>
        <p:spPr>
          <a:xfrm>
            <a:off x="6250586" y="4283640"/>
            <a:ext cx="1732985" cy="71072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100">
                <a:latin typeface="+mj-lt"/>
              </a:rPr>
              <a:t>Fetch the relevant datapoints of laws based on keywords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017D990-CFD9-E256-0730-91BAB30ED5CF}"/>
              </a:ext>
            </a:extLst>
          </p:cNvPr>
          <p:cNvSpPr txBox="1"/>
          <p:nvPr/>
        </p:nvSpPr>
        <p:spPr>
          <a:xfrm>
            <a:off x="8178637" y="1007159"/>
            <a:ext cx="1732985" cy="71072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100">
                <a:latin typeface="+mj-lt"/>
              </a:rPr>
              <a:t>Validates and Store the datapoints in a structured format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581FF129-CDA5-6427-B4D6-1A6FC50F3CA1}"/>
              </a:ext>
            </a:extLst>
          </p:cNvPr>
          <p:cNvSpPr/>
          <p:nvPr/>
        </p:nvSpPr>
        <p:spPr>
          <a:xfrm>
            <a:off x="4459222" y="2425290"/>
            <a:ext cx="987552" cy="987552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AE4036CE-E683-F1AA-7E71-D9D931F026C6}"/>
              </a:ext>
            </a:extLst>
          </p:cNvPr>
          <p:cNvSpPr/>
          <p:nvPr/>
        </p:nvSpPr>
        <p:spPr>
          <a:xfrm>
            <a:off x="6476998" y="2425290"/>
            <a:ext cx="987552" cy="987552"/>
          </a:xfrm>
          <a:prstGeom prst="ellipse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3D2918FD-D9DE-61BE-9480-C4756B592F0B}"/>
              </a:ext>
            </a:extLst>
          </p:cNvPr>
          <p:cNvSpPr/>
          <p:nvPr/>
        </p:nvSpPr>
        <p:spPr>
          <a:xfrm>
            <a:off x="8500864" y="2421968"/>
            <a:ext cx="987552" cy="987552"/>
          </a:xfrm>
          <a:prstGeom prst="ellipse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5" name="Graphic 64" descr="Internet outline">
            <a:extLst>
              <a:ext uri="{FF2B5EF4-FFF2-40B4-BE49-F238E27FC236}">
                <a16:creationId xmlns:a16="http://schemas.microsoft.com/office/drawing/2014/main" id="{9354DA33-5034-4C9B-5960-CB0D84502C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22822" y="2509432"/>
            <a:ext cx="812624" cy="812624"/>
          </a:xfrm>
          <a:prstGeom prst="rect">
            <a:avLst/>
          </a:prstGeom>
        </p:spPr>
      </p:pic>
      <p:pic>
        <p:nvPicPr>
          <p:cNvPr id="67" name="Graphic 66" descr="Database with solid fill">
            <a:extLst>
              <a:ext uri="{FF2B5EF4-FFF2-40B4-BE49-F238E27FC236}">
                <a16:creationId xmlns:a16="http://schemas.microsoft.com/office/drawing/2014/main" id="{8AB3D170-49BB-2321-ECA0-6D831935F6F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16356" y="2537460"/>
            <a:ext cx="756568" cy="756568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7E418604-C783-DD28-0FE0-0A281E9504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8408" y="2631631"/>
            <a:ext cx="639475" cy="639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B916CDDD-6039-FD39-A31A-E750DB53AE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2858" y="2573748"/>
            <a:ext cx="720280" cy="7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Oval 67">
            <a:extLst>
              <a:ext uri="{FF2B5EF4-FFF2-40B4-BE49-F238E27FC236}">
                <a16:creationId xmlns:a16="http://schemas.microsoft.com/office/drawing/2014/main" id="{774E0AE7-DAD4-48D8-0418-DFA57D0467D4}"/>
              </a:ext>
            </a:extLst>
          </p:cNvPr>
          <p:cNvSpPr/>
          <p:nvPr/>
        </p:nvSpPr>
        <p:spPr>
          <a:xfrm>
            <a:off x="6727698" y="1015432"/>
            <a:ext cx="486152" cy="47165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3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3B24D031-A4F9-0228-16C7-73C26D293FC9}"/>
              </a:ext>
            </a:extLst>
          </p:cNvPr>
          <p:cNvSpPr/>
          <p:nvPr/>
        </p:nvSpPr>
        <p:spPr>
          <a:xfrm>
            <a:off x="4709922" y="4349197"/>
            <a:ext cx="486152" cy="47165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2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35B671C8-0F49-0416-BA5B-4181E8B0D695}"/>
              </a:ext>
            </a:extLst>
          </p:cNvPr>
          <p:cNvSpPr/>
          <p:nvPr/>
        </p:nvSpPr>
        <p:spPr>
          <a:xfrm>
            <a:off x="8751564" y="4349197"/>
            <a:ext cx="486152" cy="47165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24571851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1946226-700B-A035-6F76-6B2B2505E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9892" y="6398229"/>
            <a:ext cx="484909" cy="274320"/>
          </a:xfrm>
        </p:spPr>
        <p:txBody>
          <a:bodyPr/>
          <a:lstStyle/>
          <a:p>
            <a:fld id="{8BC64C03-9EC0-4B7E-8FE4-24DBF62E63E5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647F802-D85F-D5BE-2917-EA40D387F353}"/>
              </a:ext>
            </a:extLst>
          </p:cNvPr>
          <p:cNvSpPr txBox="1"/>
          <p:nvPr/>
        </p:nvSpPr>
        <p:spPr>
          <a:xfrm>
            <a:off x="-75878" y="2458098"/>
            <a:ext cx="1498988" cy="48535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>
                <a:solidFill>
                  <a:schemeClr val="accent1"/>
                </a:solidFill>
                <a:latin typeface="Montserrat" panose="00000500000000000000" pitchFamily="2" charset="0"/>
              </a:rPr>
              <a:t>Challeng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F7ECCFF-DA4D-FF0F-290A-D8860E414A7B}"/>
              </a:ext>
            </a:extLst>
          </p:cNvPr>
          <p:cNvGrpSpPr/>
          <p:nvPr/>
        </p:nvGrpSpPr>
        <p:grpSpPr>
          <a:xfrm>
            <a:off x="1656730" y="2877015"/>
            <a:ext cx="8878540" cy="1591056"/>
            <a:chOff x="1793748" y="1399032"/>
            <a:chExt cx="8878540" cy="1325880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6E91623-1BFC-5E2C-3ADB-648BD6A62AEE}"/>
                </a:ext>
              </a:extLst>
            </p:cNvPr>
            <p:cNvSpPr/>
            <p:nvPr/>
          </p:nvSpPr>
          <p:spPr>
            <a:xfrm>
              <a:off x="1793748" y="1399032"/>
              <a:ext cx="1498092" cy="1325880"/>
            </a:xfrm>
            <a:custGeom>
              <a:avLst/>
              <a:gdLst>
                <a:gd name="connsiteX0" fmla="*/ 211836 w 1031748"/>
                <a:gd name="connsiteY0" fmla="*/ 0 h 1325880"/>
                <a:gd name="connsiteX1" fmla="*/ 757712 w 1031748"/>
                <a:gd name="connsiteY1" fmla="*/ 0 h 1325880"/>
                <a:gd name="connsiteX2" fmla="*/ 794233 w 1031748"/>
                <a:gd name="connsiteY2" fmla="*/ 40183 h 1325880"/>
                <a:gd name="connsiteX3" fmla="*/ 1031748 w 1031748"/>
                <a:gd name="connsiteY3" fmla="*/ 701802 h 1325880"/>
                <a:gd name="connsiteX4" fmla="*/ 854110 w 1031748"/>
                <a:gd name="connsiteY4" fmla="*/ 1283349 h 1325880"/>
                <a:gd name="connsiteX5" fmla="*/ 822306 w 1031748"/>
                <a:gd name="connsiteY5" fmla="*/ 1325880 h 1325880"/>
                <a:gd name="connsiteX6" fmla="*/ 211836 w 1031748"/>
                <a:gd name="connsiteY6" fmla="*/ 1325880 h 1325880"/>
                <a:gd name="connsiteX7" fmla="*/ 0 w 1031748"/>
                <a:gd name="connsiteY7" fmla="*/ 1114044 h 1325880"/>
                <a:gd name="connsiteX8" fmla="*/ 0 w 1031748"/>
                <a:gd name="connsiteY8" fmla="*/ 211836 h 1325880"/>
                <a:gd name="connsiteX9" fmla="*/ 211836 w 1031748"/>
                <a:gd name="connsiteY9" fmla="*/ 0 h 132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31748" h="1325880">
                  <a:moveTo>
                    <a:pt x="211836" y="0"/>
                  </a:moveTo>
                  <a:lnTo>
                    <a:pt x="757712" y="0"/>
                  </a:lnTo>
                  <a:lnTo>
                    <a:pt x="794233" y="40183"/>
                  </a:lnTo>
                  <a:cubicBezTo>
                    <a:pt x="942614" y="219979"/>
                    <a:pt x="1031748" y="450481"/>
                    <a:pt x="1031748" y="701802"/>
                  </a:cubicBezTo>
                  <a:cubicBezTo>
                    <a:pt x="1031748" y="917220"/>
                    <a:pt x="966262" y="1117343"/>
                    <a:pt x="854110" y="1283349"/>
                  </a:cubicBezTo>
                  <a:lnTo>
                    <a:pt x="822306" y="1325880"/>
                  </a:lnTo>
                  <a:lnTo>
                    <a:pt x="211836" y="1325880"/>
                  </a:lnTo>
                  <a:cubicBezTo>
                    <a:pt x="94842" y="1325880"/>
                    <a:pt x="0" y="1231038"/>
                    <a:pt x="0" y="1114044"/>
                  </a:cubicBezTo>
                  <a:lnTo>
                    <a:pt x="0" y="211836"/>
                  </a:lnTo>
                  <a:cubicBezTo>
                    <a:pt x="0" y="94842"/>
                    <a:pt x="94842" y="0"/>
                    <a:pt x="211836" y="0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702EB34C-48B5-BEA1-D85A-C0949835CE7E}"/>
                </a:ext>
              </a:extLst>
            </p:cNvPr>
            <p:cNvSpPr/>
            <p:nvPr/>
          </p:nvSpPr>
          <p:spPr>
            <a:xfrm>
              <a:off x="2825496" y="1399032"/>
              <a:ext cx="7846792" cy="1325880"/>
            </a:xfrm>
            <a:custGeom>
              <a:avLst/>
              <a:gdLst>
                <a:gd name="connsiteX0" fmla="*/ 0 w 7846792"/>
                <a:gd name="connsiteY0" fmla="*/ 0 h 1325880"/>
                <a:gd name="connsiteX1" fmla="*/ 7634956 w 7846792"/>
                <a:gd name="connsiteY1" fmla="*/ 0 h 1325880"/>
                <a:gd name="connsiteX2" fmla="*/ 7846792 w 7846792"/>
                <a:gd name="connsiteY2" fmla="*/ 211836 h 1325880"/>
                <a:gd name="connsiteX3" fmla="*/ 7846792 w 7846792"/>
                <a:gd name="connsiteY3" fmla="*/ 1114044 h 1325880"/>
                <a:gd name="connsiteX4" fmla="*/ 7634956 w 7846792"/>
                <a:gd name="connsiteY4" fmla="*/ 1325880 h 1325880"/>
                <a:gd name="connsiteX5" fmla="*/ 64594 w 7846792"/>
                <a:gd name="connsiteY5" fmla="*/ 1325880 h 1325880"/>
                <a:gd name="connsiteX6" fmla="*/ 96398 w 7846792"/>
                <a:gd name="connsiteY6" fmla="*/ 1283349 h 1325880"/>
                <a:gd name="connsiteX7" fmla="*/ 274036 w 7846792"/>
                <a:gd name="connsiteY7" fmla="*/ 701802 h 1325880"/>
                <a:gd name="connsiteX8" fmla="*/ 36521 w 7846792"/>
                <a:gd name="connsiteY8" fmla="*/ 40183 h 1325880"/>
                <a:gd name="connsiteX9" fmla="*/ 0 w 7846792"/>
                <a:gd name="connsiteY9" fmla="*/ 0 h 132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46792" h="1325880">
                  <a:moveTo>
                    <a:pt x="0" y="0"/>
                  </a:moveTo>
                  <a:lnTo>
                    <a:pt x="7634956" y="0"/>
                  </a:lnTo>
                  <a:cubicBezTo>
                    <a:pt x="7751950" y="0"/>
                    <a:pt x="7846792" y="94842"/>
                    <a:pt x="7846792" y="211836"/>
                  </a:cubicBezTo>
                  <a:lnTo>
                    <a:pt x="7846792" y="1114044"/>
                  </a:lnTo>
                  <a:cubicBezTo>
                    <a:pt x="7846792" y="1231038"/>
                    <a:pt x="7751950" y="1325880"/>
                    <a:pt x="7634956" y="1325880"/>
                  </a:cubicBezTo>
                  <a:lnTo>
                    <a:pt x="64594" y="1325880"/>
                  </a:lnTo>
                  <a:lnTo>
                    <a:pt x="96398" y="1283349"/>
                  </a:lnTo>
                  <a:cubicBezTo>
                    <a:pt x="208550" y="1117343"/>
                    <a:pt x="274036" y="917220"/>
                    <a:pt x="274036" y="701802"/>
                  </a:cubicBezTo>
                  <a:cubicBezTo>
                    <a:pt x="274036" y="450481"/>
                    <a:pt x="184902" y="219979"/>
                    <a:pt x="36521" y="4018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CD1C70C-0BAD-E768-2B58-B7BAFEDDC19E}"/>
              </a:ext>
            </a:extLst>
          </p:cNvPr>
          <p:cNvGrpSpPr/>
          <p:nvPr/>
        </p:nvGrpSpPr>
        <p:grpSpPr>
          <a:xfrm>
            <a:off x="1656730" y="4656702"/>
            <a:ext cx="8878540" cy="1591056"/>
            <a:chOff x="1793748" y="3316224"/>
            <a:chExt cx="8878540" cy="1325880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EB2995F-9FF6-66DA-3990-FFA2711CDA63}"/>
                </a:ext>
              </a:extLst>
            </p:cNvPr>
            <p:cNvSpPr/>
            <p:nvPr/>
          </p:nvSpPr>
          <p:spPr>
            <a:xfrm>
              <a:off x="1793748" y="3316224"/>
              <a:ext cx="1498092" cy="1325880"/>
            </a:xfrm>
            <a:custGeom>
              <a:avLst/>
              <a:gdLst>
                <a:gd name="connsiteX0" fmla="*/ 211836 w 1031748"/>
                <a:gd name="connsiteY0" fmla="*/ 0 h 1325880"/>
                <a:gd name="connsiteX1" fmla="*/ 757712 w 1031748"/>
                <a:gd name="connsiteY1" fmla="*/ 0 h 1325880"/>
                <a:gd name="connsiteX2" fmla="*/ 794233 w 1031748"/>
                <a:gd name="connsiteY2" fmla="*/ 40183 h 1325880"/>
                <a:gd name="connsiteX3" fmla="*/ 1031748 w 1031748"/>
                <a:gd name="connsiteY3" fmla="*/ 701802 h 1325880"/>
                <a:gd name="connsiteX4" fmla="*/ 854110 w 1031748"/>
                <a:gd name="connsiteY4" fmla="*/ 1283349 h 1325880"/>
                <a:gd name="connsiteX5" fmla="*/ 822306 w 1031748"/>
                <a:gd name="connsiteY5" fmla="*/ 1325880 h 1325880"/>
                <a:gd name="connsiteX6" fmla="*/ 211836 w 1031748"/>
                <a:gd name="connsiteY6" fmla="*/ 1325880 h 1325880"/>
                <a:gd name="connsiteX7" fmla="*/ 0 w 1031748"/>
                <a:gd name="connsiteY7" fmla="*/ 1114044 h 1325880"/>
                <a:gd name="connsiteX8" fmla="*/ 0 w 1031748"/>
                <a:gd name="connsiteY8" fmla="*/ 211836 h 1325880"/>
                <a:gd name="connsiteX9" fmla="*/ 211836 w 1031748"/>
                <a:gd name="connsiteY9" fmla="*/ 0 h 132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31748" h="1325880">
                  <a:moveTo>
                    <a:pt x="211836" y="0"/>
                  </a:moveTo>
                  <a:lnTo>
                    <a:pt x="757712" y="0"/>
                  </a:lnTo>
                  <a:lnTo>
                    <a:pt x="794233" y="40183"/>
                  </a:lnTo>
                  <a:cubicBezTo>
                    <a:pt x="942614" y="219979"/>
                    <a:pt x="1031748" y="450481"/>
                    <a:pt x="1031748" y="701802"/>
                  </a:cubicBezTo>
                  <a:cubicBezTo>
                    <a:pt x="1031748" y="917220"/>
                    <a:pt x="966262" y="1117343"/>
                    <a:pt x="854110" y="1283349"/>
                  </a:cubicBezTo>
                  <a:lnTo>
                    <a:pt x="822306" y="1325880"/>
                  </a:lnTo>
                  <a:lnTo>
                    <a:pt x="211836" y="1325880"/>
                  </a:lnTo>
                  <a:cubicBezTo>
                    <a:pt x="94842" y="1325880"/>
                    <a:pt x="0" y="1231038"/>
                    <a:pt x="0" y="1114044"/>
                  </a:cubicBezTo>
                  <a:lnTo>
                    <a:pt x="0" y="211836"/>
                  </a:lnTo>
                  <a:cubicBezTo>
                    <a:pt x="0" y="94842"/>
                    <a:pt x="94842" y="0"/>
                    <a:pt x="211836" y="0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26D0794-013D-AEC1-8DD2-AC6F0DB9E99B}"/>
                </a:ext>
              </a:extLst>
            </p:cNvPr>
            <p:cNvSpPr/>
            <p:nvPr/>
          </p:nvSpPr>
          <p:spPr>
            <a:xfrm>
              <a:off x="2825496" y="3316224"/>
              <a:ext cx="7846792" cy="1325880"/>
            </a:xfrm>
            <a:custGeom>
              <a:avLst/>
              <a:gdLst>
                <a:gd name="connsiteX0" fmla="*/ 0 w 7846792"/>
                <a:gd name="connsiteY0" fmla="*/ 0 h 1325880"/>
                <a:gd name="connsiteX1" fmla="*/ 7634956 w 7846792"/>
                <a:gd name="connsiteY1" fmla="*/ 0 h 1325880"/>
                <a:gd name="connsiteX2" fmla="*/ 7846792 w 7846792"/>
                <a:gd name="connsiteY2" fmla="*/ 211836 h 1325880"/>
                <a:gd name="connsiteX3" fmla="*/ 7846792 w 7846792"/>
                <a:gd name="connsiteY3" fmla="*/ 1114044 h 1325880"/>
                <a:gd name="connsiteX4" fmla="*/ 7634956 w 7846792"/>
                <a:gd name="connsiteY4" fmla="*/ 1325880 h 1325880"/>
                <a:gd name="connsiteX5" fmla="*/ 64594 w 7846792"/>
                <a:gd name="connsiteY5" fmla="*/ 1325880 h 1325880"/>
                <a:gd name="connsiteX6" fmla="*/ 96398 w 7846792"/>
                <a:gd name="connsiteY6" fmla="*/ 1283349 h 1325880"/>
                <a:gd name="connsiteX7" fmla="*/ 274036 w 7846792"/>
                <a:gd name="connsiteY7" fmla="*/ 701802 h 1325880"/>
                <a:gd name="connsiteX8" fmla="*/ 36521 w 7846792"/>
                <a:gd name="connsiteY8" fmla="*/ 40183 h 1325880"/>
                <a:gd name="connsiteX9" fmla="*/ 0 w 7846792"/>
                <a:gd name="connsiteY9" fmla="*/ 0 h 132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46792" h="1325880">
                  <a:moveTo>
                    <a:pt x="0" y="0"/>
                  </a:moveTo>
                  <a:lnTo>
                    <a:pt x="7634956" y="0"/>
                  </a:lnTo>
                  <a:cubicBezTo>
                    <a:pt x="7751950" y="0"/>
                    <a:pt x="7846792" y="94842"/>
                    <a:pt x="7846792" y="211836"/>
                  </a:cubicBezTo>
                  <a:lnTo>
                    <a:pt x="7846792" y="1114044"/>
                  </a:lnTo>
                  <a:cubicBezTo>
                    <a:pt x="7846792" y="1231038"/>
                    <a:pt x="7751950" y="1325880"/>
                    <a:pt x="7634956" y="1325880"/>
                  </a:cubicBezTo>
                  <a:lnTo>
                    <a:pt x="64594" y="1325880"/>
                  </a:lnTo>
                  <a:lnTo>
                    <a:pt x="96398" y="1283349"/>
                  </a:lnTo>
                  <a:cubicBezTo>
                    <a:pt x="208550" y="1117343"/>
                    <a:pt x="274036" y="917220"/>
                    <a:pt x="274036" y="701802"/>
                  </a:cubicBezTo>
                  <a:cubicBezTo>
                    <a:pt x="274036" y="450481"/>
                    <a:pt x="184902" y="219979"/>
                    <a:pt x="36521" y="4018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9EC94360-A593-FA43-ED2D-FA5FA8CE4079}"/>
              </a:ext>
            </a:extLst>
          </p:cNvPr>
          <p:cNvSpPr txBox="1"/>
          <p:nvPr/>
        </p:nvSpPr>
        <p:spPr>
          <a:xfrm>
            <a:off x="3255264" y="3942506"/>
            <a:ext cx="1655064" cy="3931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100"/>
              <a:t>Dynamic Content Loadin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F901925-EC93-4AB4-BDFB-FEA434E53D3A}"/>
              </a:ext>
            </a:extLst>
          </p:cNvPr>
          <p:cNvSpPr txBox="1"/>
          <p:nvPr/>
        </p:nvSpPr>
        <p:spPr>
          <a:xfrm>
            <a:off x="5721858" y="3942506"/>
            <a:ext cx="1655064" cy="3931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100"/>
              <a:t>Inconsistent Data Format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3620C6D-53E7-C7AB-29B4-57CF8F492C06}"/>
              </a:ext>
            </a:extLst>
          </p:cNvPr>
          <p:cNvSpPr txBox="1"/>
          <p:nvPr/>
        </p:nvSpPr>
        <p:spPr>
          <a:xfrm>
            <a:off x="8188452" y="3942506"/>
            <a:ext cx="1492136" cy="3931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100"/>
              <a:t>Anti-Bot Detec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577FED0-6168-99B4-18C7-4E0A01269F98}"/>
              </a:ext>
            </a:extLst>
          </p:cNvPr>
          <p:cNvSpPr txBox="1"/>
          <p:nvPr/>
        </p:nvSpPr>
        <p:spPr>
          <a:xfrm>
            <a:off x="3438144" y="5661018"/>
            <a:ext cx="1655064" cy="3931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100"/>
              <a:t>Use Seleniu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C5C5F87-7A3C-002E-A71E-01FF8647738B}"/>
              </a:ext>
            </a:extLst>
          </p:cNvPr>
          <p:cNvSpPr txBox="1"/>
          <p:nvPr/>
        </p:nvSpPr>
        <p:spPr>
          <a:xfrm>
            <a:off x="5842405" y="5612250"/>
            <a:ext cx="1655064" cy="3931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100"/>
              <a:t>Convert using standard logic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C59157A-7558-45CD-C8FC-0992F3160EBF}"/>
              </a:ext>
            </a:extLst>
          </p:cNvPr>
          <p:cNvSpPr txBox="1"/>
          <p:nvPr/>
        </p:nvSpPr>
        <p:spPr>
          <a:xfrm>
            <a:off x="8371332" y="5661018"/>
            <a:ext cx="1492136" cy="3931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100"/>
              <a:t>Use Headless Browsers</a:t>
            </a:r>
          </a:p>
        </p:txBody>
      </p:sp>
      <p:pic>
        <p:nvPicPr>
          <p:cNvPr id="27" name="Graphic 26" descr="Tools with solid fill">
            <a:extLst>
              <a:ext uri="{FF2B5EF4-FFF2-40B4-BE49-F238E27FC236}">
                <a16:creationId xmlns:a16="http://schemas.microsoft.com/office/drawing/2014/main" id="{9EC1A48D-EDFD-A441-1AAB-91463085C0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33796" y="3504714"/>
            <a:ext cx="491535" cy="491535"/>
          </a:xfrm>
          <a:prstGeom prst="rect">
            <a:avLst/>
          </a:prstGeom>
        </p:spPr>
      </p:pic>
      <p:pic>
        <p:nvPicPr>
          <p:cNvPr id="29" name="Graphic 28" descr="Lightbulb and gear with solid fill">
            <a:extLst>
              <a:ext uri="{FF2B5EF4-FFF2-40B4-BE49-F238E27FC236}">
                <a16:creationId xmlns:a16="http://schemas.microsoft.com/office/drawing/2014/main" id="{6A2F99F1-1F19-CA62-4B9F-0B6FD2B0C8C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90204" y="5113902"/>
            <a:ext cx="676656" cy="676656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F8D82780-9E81-5C07-30C6-41C131567834}"/>
              </a:ext>
            </a:extLst>
          </p:cNvPr>
          <p:cNvSpPr txBox="1"/>
          <p:nvPr/>
        </p:nvSpPr>
        <p:spPr>
          <a:xfrm>
            <a:off x="1659707" y="4105977"/>
            <a:ext cx="969264" cy="21031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50" b="1">
                <a:solidFill>
                  <a:schemeClr val="bg1"/>
                </a:solidFill>
              </a:rPr>
              <a:t>Challeng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522DA7-234E-781A-C418-91508969828E}"/>
              </a:ext>
            </a:extLst>
          </p:cNvPr>
          <p:cNvSpPr txBox="1"/>
          <p:nvPr/>
        </p:nvSpPr>
        <p:spPr>
          <a:xfrm>
            <a:off x="1939281" y="5903334"/>
            <a:ext cx="788528" cy="23164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50" b="1">
                <a:solidFill>
                  <a:schemeClr val="bg1"/>
                </a:solidFill>
              </a:rPr>
              <a:t>Solution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D7E0677-7823-8BBE-BE00-F3C8848EEBE9}"/>
              </a:ext>
            </a:extLst>
          </p:cNvPr>
          <p:cNvGrpSpPr/>
          <p:nvPr/>
        </p:nvGrpSpPr>
        <p:grpSpPr>
          <a:xfrm>
            <a:off x="6181069" y="3197270"/>
            <a:ext cx="576072" cy="576072"/>
            <a:chOff x="6444234" y="1632204"/>
            <a:chExt cx="576072" cy="576072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81289F96-6C94-2993-B1F5-3A85B10B5A6C}"/>
                </a:ext>
              </a:extLst>
            </p:cNvPr>
            <p:cNvSpPr/>
            <p:nvPr/>
          </p:nvSpPr>
          <p:spPr>
            <a:xfrm>
              <a:off x="6444234" y="1632204"/>
              <a:ext cx="576072" cy="57607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076" name="Picture 4">
              <a:extLst>
                <a:ext uri="{FF2B5EF4-FFF2-40B4-BE49-F238E27FC236}">
                  <a16:creationId xmlns:a16="http://schemas.microsoft.com/office/drawing/2014/main" id="{216DCB73-2DB6-D7E3-7716-BF82B06ACFC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70561" y="1758531"/>
              <a:ext cx="323418" cy="3234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C00797D-E623-BB2B-30E9-FCFEBFBB6928}"/>
              </a:ext>
            </a:extLst>
          </p:cNvPr>
          <p:cNvGrpSpPr/>
          <p:nvPr/>
        </p:nvGrpSpPr>
        <p:grpSpPr>
          <a:xfrm>
            <a:off x="8646484" y="3197270"/>
            <a:ext cx="576072" cy="576072"/>
            <a:chOff x="8829364" y="1632204"/>
            <a:chExt cx="576072" cy="576072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13A01FD8-D2D8-5CCA-DC46-0D2E4C410CFF}"/>
                </a:ext>
              </a:extLst>
            </p:cNvPr>
            <p:cNvSpPr/>
            <p:nvPr/>
          </p:nvSpPr>
          <p:spPr>
            <a:xfrm>
              <a:off x="8829364" y="1632204"/>
              <a:ext cx="576072" cy="57607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5" name="Graphic 34" descr="Robot outline">
              <a:extLst>
                <a:ext uri="{FF2B5EF4-FFF2-40B4-BE49-F238E27FC236}">
                  <a16:creationId xmlns:a16="http://schemas.microsoft.com/office/drawing/2014/main" id="{AD8FA703-BB07-7BD7-12AE-FF962373A13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79656" y="1682496"/>
              <a:ext cx="475488" cy="475488"/>
            </a:xfrm>
            <a:prstGeom prst="rect">
              <a:avLst/>
            </a:prstGeom>
          </p:spPr>
        </p:pic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E8535FCA-E7ED-7F3D-AC00-256BD7636619}"/>
              </a:ext>
            </a:extLst>
          </p:cNvPr>
          <p:cNvGrpSpPr/>
          <p:nvPr/>
        </p:nvGrpSpPr>
        <p:grpSpPr>
          <a:xfrm>
            <a:off x="3715654" y="3197270"/>
            <a:ext cx="576072" cy="576072"/>
            <a:chOff x="3898534" y="1632204"/>
            <a:chExt cx="576072" cy="576072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CE1A82F-FAED-C09C-41D6-522EAF5F6F6E}"/>
                </a:ext>
              </a:extLst>
            </p:cNvPr>
            <p:cNvSpPr/>
            <p:nvPr/>
          </p:nvSpPr>
          <p:spPr>
            <a:xfrm>
              <a:off x="3898534" y="1632204"/>
              <a:ext cx="576072" cy="57607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078" name="Picture 6">
              <a:extLst>
                <a:ext uri="{FF2B5EF4-FFF2-40B4-BE49-F238E27FC236}">
                  <a16:creationId xmlns:a16="http://schemas.microsoft.com/office/drawing/2014/main" id="{B9FA0DAC-CDE3-ECE4-7C45-FBBCBBDA1B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5429" y="1745195"/>
              <a:ext cx="362282" cy="3622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" name="Oval 35">
            <a:extLst>
              <a:ext uri="{FF2B5EF4-FFF2-40B4-BE49-F238E27FC236}">
                <a16:creationId xmlns:a16="http://schemas.microsoft.com/office/drawing/2014/main" id="{5CE95E84-BC86-FE6A-2BC8-5EBFD1618349}"/>
              </a:ext>
            </a:extLst>
          </p:cNvPr>
          <p:cNvSpPr/>
          <p:nvPr/>
        </p:nvSpPr>
        <p:spPr>
          <a:xfrm>
            <a:off x="3898534" y="4921878"/>
            <a:ext cx="576072" cy="57607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chemeClr val="accent1"/>
                </a:solidFill>
              </a:rPr>
              <a:t>S</a:t>
            </a:r>
            <a:r>
              <a:rPr lang="en-US" sz="1200">
                <a:solidFill>
                  <a:schemeClr val="accent1"/>
                </a:solidFill>
              </a:rPr>
              <a:t>e</a:t>
            </a:r>
            <a:endParaRPr lang="en-US">
              <a:solidFill>
                <a:schemeClr val="accent1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9F0F725E-67C3-95B7-6358-9041EDAA0084}"/>
              </a:ext>
            </a:extLst>
          </p:cNvPr>
          <p:cNvSpPr/>
          <p:nvPr/>
        </p:nvSpPr>
        <p:spPr>
          <a:xfrm>
            <a:off x="6363949" y="4921878"/>
            <a:ext cx="576072" cy="57607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1C355BA8-E461-6D45-900C-FFAEABDBCED3}"/>
              </a:ext>
            </a:extLst>
          </p:cNvPr>
          <p:cNvSpPr/>
          <p:nvPr/>
        </p:nvSpPr>
        <p:spPr>
          <a:xfrm>
            <a:off x="8829364" y="4921878"/>
            <a:ext cx="576072" cy="57607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80" name="Picture 8" descr="Private Browsing Icons - Free SVG &amp; PNG Private Browsing ...">
            <a:extLst>
              <a:ext uri="{FF2B5EF4-FFF2-40B4-BE49-F238E27FC236}">
                <a16:creationId xmlns:a16="http://schemas.microsoft.com/office/drawing/2014/main" id="{C29FA9D2-43A5-0686-D084-14F2A2B8A5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6648" y="5020938"/>
            <a:ext cx="401504" cy="401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Graphic 45" descr="Artificial Intelligence outline">
            <a:extLst>
              <a:ext uri="{FF2B5EF4-FFF2-40B4-BE49-F238E27FC236}">
                <a16:creationId xmlns:a16="http://schemas.microsoft.com/office/drawing/2014/main" id="{C9D8BE84-EEB7-0CD1-7E15-929AFC1B954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51852" y="5013317"/>
            <a:ext cx="393193" cy="39319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EBE2DA3-EBFF-B019-8E1B-67A32F9FD1C5}"/>
              </a:ext>
            </a:extLst>
          </p:cNvPr>
          <p:cNvSpPr txBox="1"/>
          <p:nvPr/>
        </p:nvSpPr>
        <p:spPr>
          <a:xfrm>
            <a:off x="-28366" y="0"/>
            <a:ext cx="12026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800">
                <a:solidFill>
                  <a:schemeClr val="accent1"/>
                </a:solidFill>
                <a:latin typeface="Montserrat" panose="00000500000000000000" pitchFamily="2" charset="0"/>
              </a:rPr>
              <a:t>Progress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EB05C26B-DDBC-022F-CC6D-C289CFE03A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0156277"/>
              </p:ext>
            </p:extLst>
          </p:nvPr>
        </p:nvGraphicFramePr>
        <p:xfrm>
          <a:off x="207597" y="136455"/>
          <a:ext cx="3279805" cy="190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04FA3ED-B0B0-2EF2-99FB-98EEA3AFFD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7509298"/>
              </p:ext>
            </p:extLst>
          </p:nvPr>
        </p:nvGraphicFramePr>
        <p:xfrm>
          <a:off x="980887" y="199914"/>
          <a:ext cx="3279805" cy="190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40353442-AE47-ADB2-6661-E44CB3A0572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3879739"/>
              </p:ext>
            </p:extLst>
          </p:nvPr>
        </p:nvGraphicFramePr>
        <p:xfrm>
          <a:off x="5210613" y="183204"/>
          <a:ext cx="3906787" cy="1738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40" name="TextBox 39">
            <a:extLst>
              <a:ext uri="{FF2B5EF4-FFF2-40B4-BE49-F238E27FC236}">
                <a16:creationId xmlns:a16="http://schemas.microsoft.com/office/drawing/2014/main" id="{7747B651-8E50-552B-03D0-8E5F185663BA}"/>
              </a:ext>
            </a:extLst>
          </p:cNvPr>
          <p:cNvSpPr txBox="1"/>
          <p:nvPr/>
        </p:nvSpPr>
        <p:spPr>
          <a:xfrm>
            <a:off x="6845045" y="1782912"/>
            <a:ext cx="1396558" cy="25302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1200">
                <a:solidFill>
                  <a:schemeClr val="accent1"/>
                </a:solidFill>
              </a:rPr>
              <a:t>83.33 % time saved</a:t>
            </a:r>
          </a:p>
        </p:txBody>
      </p:sp>
    </p:spTree>
    <p:extLst>
      <p:ext uri="{BB962C8B-B14F-4D97-AF65-F5344CB8AC3E}">
        <p14:creationId xmlns:p14="http://schemas.microsoft.com/office/powerpoint/2010/main" val="410836654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78D69E-BA65-2DF2-CB3F-721B15E808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99D212A-340C-E1B9-9A3A-B7C700D5CFF4}"/>
              </a:ext>
            </a:extLst>
          </p:cNvPr>
          <p:cNvSpPr txBox="1"/>
          <p:nvPr/>
        </p:nvSpPr>
        <p:spPr>
          <a:xfrm>
            <a:off x="134154" y="0"/>
            <a:ext cx="3483915" cy="57027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noAutofit/>
          </a:bodyPr>
          <a:lstStyle/>
          <a:p>
            <a:pPr algn="ctr"/>
            <a:r>
              <a:rPr lang="en-US" sz="2400" b="1">
                <a:solidFill>
                  <a:schemeClr val="accent1"/>
                </a:solidFill>
                <a:latin typeface="Montserrat" panose="00000500000000000000" pitchFamily="2" charset="0"/>
              </a:rPr>
              <a:t>Approach Overview </a:t>
            </a:r>
            <a:br>
              <a:rPr lang="en-US" sz="2400">
                <a:solidFill>
                  <a:schemeClr val="accent2"/>
                </a:solidFill>
                <a:latin typeface="Montserrat" panose="00000500000000000000" pitchFamily="2" charset="0"/>
              </a:rPr>
            </a:br>
            <a:endParaRPr lang="en-US" sz="2400">
              <a:solidFill>
                <a:schemeClr val="accent2"/>
              </a:solidFill>
              <a:latin typeface="Montserrat" panose="00000500000000000000" pitchFamily="2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76D155E-5FC9-0001-AD98-AEF14EB9A2C2}"/>
              </a:ext>
            </a:extLst>
          </p:cNvPr>
          <p:cNvSpPr/>
          <p:nvPr/>
        </p:nvSpPr>
        <p:spPr>
          <a:xfrm>
            <a:off x="8050093" y="1748658"/>
            <a:ext cx="3628724" cy="4552749"/>
          </a:xfrm>
          <a:prstGeom prst="roundRect">
            <a:avLst>
              <a:gd name="adj" fmla="val 20684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1"/>
                </a:solidFill>
              </a:rPr>
              <a:t>Full browser automation with Selenium for dynamic content intera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1"/>
                </a:solidFill>
              </a:rPr>
              <a:t>Selenium WebDriver + </a:t>
            </a:r>
            <a:r>
              <a:rPr lang="en-US" err="1">
                <a:solidFill>
                  <a:schemeClr val="accent1"/>
                </a:solidFill>
              </a:rPr>
              <a:t>BeautifulSoup</a:t>
            </a:r>
            <a:r>
              <a:rPr lang="en-US">
                <a:solidFill>
                  <a:schemeClr val="accent1"/>
                </a:solidFill>
              </a:rPr>
              <a:t> + retry mechanis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1"/>
                </a:solidFill>
              </a:rPr>
              <a:t>Performance: Slow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EBA33FC-5C5F-6737-7A0D-7F92B1BF2001}"/>
              </a:ext>
            </a:extLst>
          </p:cNvPr>
          <p:cNvSpPr/>
          <p:nvPr/>
        </p:nvSpPr>
        <p:spPr>
          <a:xfrm>
            <a:off x="4196265" y="1748658"/>
            <a:ext cx="3628724" cy="4552749"/>
          </a:xfrm>
          <a:prstGeom prst="roundRect">
            <a:avLst>
              <a:gd name="adj" fmla="val 20995"/>
            </a:avLst>
          </a:prstGeom>
          <a:solidFill>
            <a:srgbClr val="EAE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1"/>
                </a:solidFill>
              </a:rPr>
              <a:t>Static HTML parsing with </a:t>
            </a:r>
            <a:r>
              <a:rPr lang="en-US" err="1">
                <a:solidFill>
                  <a:schemeClr val="accent1"/>
                </a:solidFill>
              </a:rPr>
              <a:t>BeautifulSoup</a:t>
            </a:r>
            <a:r>
              <a:rPr lang="en-US">
                <a:solidFill>
                  <a:schemeClr val="accent1"/>
                </a:solidFill>
              </a:rPr>
              <a:t> for bill-by-bill extra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1"/>
                </a:solidFill>
              </a:rPr>
              <a:t> requests + </a:t>
            </a:r>
            <a:r>
              <a:rPr lang="en-US" err="1">
                <a:solidFill>
                  <a:schemeClr val="accent1"/>
                </a:solidFill>
              </a:rPr>
              <a:t>BeautifulSoup</a:t>
            </a:r>
            <a:r>
              <a:rPr lang="en-US">
                <a:solidFill>
                  <a:schemeClr val="accent1"/>
                </a:solidFill>
              </a:rPr>
              <a:t> + custom parsing logi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1"/>
                </a:solidFill>
              </a:rPr>
              <a:t>Performance: Moderate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83A86C2-6AF5-A7BE-3A75-7A1F130380A0}"/>
              </a:ext>
            </a:extLst>
          </p:cNvPr>
          <p:cNvSpPr/>
          <p:nvPr/>
        </p:nvSpPr>
        <p:spPr>
          <a:xfrm>
            <a:off x="342437" y="1748658"/>
            <a:ext cx="3628724" cy="4552749"/>
          </a:xfrm>
          <a:prstGeom prst="roundRect">
            <a:avLst>
              <a:gd name="adj" fmla="val 21768"/>
            </a:avLst>
          </a:prstGeom>
          <a:solidFill>
            <a:srgbClr val="EAE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1"/>
                </a:solidFill>
              </a:rPr>
              <a:t>Simple HTTP requests to download structured data fi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1"/>
                </a:solidFill>
              </a:rPr>
              <a:t>requests library  + Pan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1"/>
                </a:solidFill>
              </a:rPr>
              <a:t>Performance: Fastest execu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99C4A1C-0D50-C7CC-977F-7FED99F419E2}"/>
              </a:ext>
            </a:extLst>
          </p:cNvPr>
          <p:cNvSpPr txBox="1"/>
          <p:nvPr/>
        </p:nvSpPr>
        <p:spPr>
          <a:xfrm>
            <a:off x="8412346" y="2223327"/>
            <a:ext cx="2904217" cy="50470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Selenium Autom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6CBD4F-5527-72CA-E0E7-4C436309CE00}"/>
              </a:ext>
            </a:extLst>
          </p:cNvPr>
          <p:cNvSpPr txBox="1"/>
          <p:nvPr/>
        </p:nvSpPr>
        <p:spPr>
          <a:xfrm>
            <a:off x="4895704" y="2244808"/>
            <a:ext cx="2229846" cy="44035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HTML parsing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0E70698-0FB9-2383-6294-B70378740C72}"/>
              </a:ext>
            </a:extLst>
          </p:cNvPr>
          <p:cNvSpPr txBox="1"/>
          <p:nvPr/>
        </p:nvSpPr>
        <p:spPr>
          <a:xfrm>
            <a:off x="430393" y="2263614"/>
            <a:ext cx="3628724" cy="45479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Direct JSON/CSV downloads</a:t>
            </a:r>
            <a:br>
              <a:rPr lang="en-US" b="1">
                <a:solidFill>
                  <a:schemeClr val="accent1"/>
                </a:solidFill>
              </a:rPr>
            </a:br>
            <a:endParaRPr lang="en-US" b="1">
              <a:solidFill>
                <a:schemeClr val="accent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577DF86-5B02-D312-4AAD-7601DB13EEB8}"/>
              </a:ext>
            </a:extLst>
          </p:cNvPr>
          <p:cNvSpPr txBox="1"/>
          <p:nvPr/>
        </p:nvSpPr>
        <p:spPr>
          <a:xfrm>
            <a:off x="2135646" y="556593"/>
            <a:ext cx="735765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endParaRPr lang="en-US"/>
          </a:p>
          <a:p>
            <a:pPr algn="ctr"/>
            <a:r>
              <a:rPr lang="en-US" sz="2400">
                <a:solidFill>
                  <a:schemeClr val="accent2"/>
                </a:solidFill>
              </a:rPr>
              <a:t>Multiple approaches for legislative websites</a:t>
            </a:r>
          </a:p>
        </p:txBody>
      </p:sp>
    </p:spTree>
    <p:extLst>
      <p:ext uri="{BB962C8B-B14F-4D97-AF65-F5344CB8AC3E}">
        <p14:creationId xmlns:p14="http://schemas.microsoft.com/office/powerpoint/2010/main" val="341089269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DFC7ED8-C3B8-00E3-96AA-FEFF17F3FB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62A7EDA-6B1E-BD65-4692-5A2792627B25}"/>
              </a:ext>
            </a:extLst>
          </p:cNvPr>
          <p:cNvSpPr txBox="1"/>
          <p:nvPr/>
        </p:nvSpPr>
        <p:spPr>
          <a:xfrm>
            <a:off x="815740" y="1200778"/>
            <a:ext cx="10282189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000000"/>
                </a:solidFill>
                <a:effectLst/>
                <a:latin typeface="Nunito Sans" pitchFamily="2" charset="0"/>
              </a:rPr>
              <a:t>What Is an Out-of-Sequence Claim?</a:t>
            </a:r>
            <a:br>
              <a:rPr lang="en-US" b="0" i="0" dirty="0">
                <a:solidFill>
                  <a:srgbClr val="000000"/>
                </a:solidFill>
                <a:effectLst/>
                <a:latin typeface="Nunito Sans" pitchFamily="2" charset="0"/>
              </a:rPr>
            </a:br>
            <a:r>
              <a:rPr lang="en-US" b="0" i="0" dirty="0">
                <a:solidFill>
                  <a:srgbClr val="000000"/>
                </a:solidFill>
                <a:effectLst/>
                <a:latin typeface="Nunito Sans" pitchFamily="2" charset="0"/>
              </a:rPr>
              <a:t> A claim for a less comprehensive service (e.g., venipuncture) that arrives and is processed before a later, more comprehensive service claim (e.g., lab panel) with the same date of service.</a:t>
            </a:r>
            <a:br>
              <a:rPr lang="en-US" b="0" i="0" dirty="0">
                <a:solidFill>
                  <a:srgbClr val="000000"/>
                </a:solidFill>
                <a:effectLst/>
                <a:latin typeface="Nunito Sans" pitchFamily="2" charset="0"/>
              </a:rPr>
            </a:br>
            <a:r>
              <a:rPr lang="en-US" b="0" i="0" dirty="0">
                <a:solidFill>
                  <a:srgbClr val="000000"/>
                </a:solidFill>
                <a:effectLst/>
                <a:latin typeface="Nunito Sans" pitchFamily="2" charset="0"/>
              </a:rPr>
              <a:t>The system pays the first claim before seeing the bundled/global service that should override or encompass it.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000000"/>
                </a:solidFill>
                <a:effectLst/>
                <a:latin typeface="Nunito Sans" pitchFamily="2" charset="0"/>
              </a:rPr>
              <a:t>The Problem Statement</a:t>
            </a:r>
            <a:br>
              <a:rPr lang="en-US" b="0" i="0" dirty="0">
                <a:solidFill>
                  <a:srgbClr val="000000"/>
                </a:solidFill>
                <a:effectLst/>
                <a:latin typeface="Nunito Sans" pitchFamily="2" charset="0"/>
              </a:rPr>
            </a:br>
            <a:r>
              <a:rPr lang="en-US" b="0" i="0" dirty="0">
                <a:solidFill>
                  <a:srgbClr val="000000"/>
                </a:solidFill>
                <a:effectLst/>
                <a:latin typeface="Nunito Sans" pitchFamily="2" charset="0"/>
              </a:rPr>
              <a:t> When the comprehensive claim arrives later, the system has already paid the smaller claim.</a:t>
            </a:r>
            <a:br>
              <a:rPr lang="en-US" b="0" i="0" dirty="0">
                <a:solidFill>
                  <a:srgbClr val="000000"/>
                </a:solidFill>
                <a:effectLst/>
                <a:latin typeface="Nunito Sans" pitchFamily="2" charset="0"/>
              </a:rPr>
            </a:br>
            <a:r>
              <a:rPr lang="en-US" b="0" i="0" dirty="0">
                <a:solidFill>
                  <a:srgbClr val="000000"/>
                </a:solidFill>
                <a:effectLst/>
                <a:latin typeface="Nunito Sans" pitchFamily="2" charset="0"/>
              </a:rPr>
              <a:t>Results in incorrect payments, duplicate reimbursements, and lost savings.</a:t>
            </a:r>
            <a:br>
              <a:rPr lang="en-US" b="0" i="0" dirty="0">
                <a:solidFill>
                  <a:srgbClr val="000000"/>
                </a:solidFill>
                <a:effectLst/>
                <a:latin typeface="Nunito Sans" pitchFamily="2" charset="0"/>
              </a:rPr>
            </a:br>
            <a:r>
              <a:rPr lang="en-US" b="0" i="0" dirty="0">
                <a:solidFill>
                  <a:srgbClr val="000000"/>
                </a:solidFill>
                <a:effectLst/>
                <a:latin typeface="Nunito Sans" pitchFamily="2" charset="0"/>
              </a:rPr>
              <a:t> Manual recovery efforts increase administrative costs and delay true claim adjudication.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000000"/>
                </a:solidFill>
                <a:effectLst/>
                <a:latin typeface="Nunito Sans" pitchFamily="2" charset="0"/>
              </a:rPr>
              <a:t>Example</a:t>
            </a:r>
            <a:br>
              <a:rPr lang="en-US" b="0" i="0" dirty="0">
                <a:solidFill>
                  <a:srgbClr val="000000"/>
                </a:solidFill>
                <a:effectLst/>
                <a:latin typeface="Nunito Sans" pitchFamily="2" charset="0"/>
              </a:rPr>
            </a:br>
            <a:r>
              <a:rPr lang="en-US" b="0" i="0" dirty="0">
                <a:solidFill>
                  <a:srgbClr val="000000"/>
                </a:solidFill>
                <a:effectLst/>
                <a:latin typeface="Nunito Sans" pitchFamily="2" charset="0"/>
              </a:rPr>
              <a:t> May 5, 2025: Provider submits CPT 36415 (venipuncture) → System pays $X.</a:t>
            </a:r>
            <a:br>
              <a:rPr lang="en-US" b="0" i="0" dirty="0">
                <a:solidFill>
                  <a:srgbClr val="000000"/>
                </a:solidFill>
                <a:effectLst/>
                <a:latin typeface="Nunito Sans" pitchFamily="2" charset="0"/>
              </a:rPr>
            </a:br>
            <a:r>
              <a:rPr lang="en-US" b="0" i="0" dirty="0">
                <a:solidFill>
                  <a:srgbClr val="000000"/>
                </a:solidFill>
                <a:effectLst/>
                <a:latin typeface="Nunito Sans" pitchFamily="2" charset="0"/>
              </a:rPr>
              <a:t> Later (hours/days): Provider submits CPT 80050 (general health panel) for same date → NCCI bundles 36415 into 80050 → 36415 should have been denied.</a:t>
            </a:r>
            <a:br>
              <a:rPr lang="en-US" b="0" i="0" dirty="0">
                <a:solidFill>
                  <a:srgbClr val="000000"/>
                </a:solidFill>
                <a:effectLst/>
                <a:latin typeface="Nunito Sans" pitchFamily="2" charset="0"/>
              </a:rPr>
            </a:br>
            <a:r>
              <a:rPr lang="en-US" b="0" i="0" dirty="0">
                <a:solidFill>
                  <a:srgbClr val="000000"/>
                </a:solidFill>
                <a:effectLst/>
                <a:latin typeface="Nunito Sans" pitchFamily="2" charset="0"/>
              </a:rPr>
              <a:t> Outcome: Overpayment on 36415 that must now be identified and recouped.</a:t>
            </a:r>
          </a:p>
        </p:txBody>
      </p:sp>
    </p:spTree>
    <p:extLst>
      <p:ext uri="{BB962C8B-B14F-4D97-AF65-F5344CB8AC3E}">
        <p14:creationId xmlns:p14="http://schemas.microsoft.com/office/powerpoint/2010/main" val="228878022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816716-EE3E-339B-6313-9E9A8B754C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37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6EC945-6464-A7EE-3B13-5F57485BFE7D}"/>
              </a:ext>
            </a:extLst>
          </p:cNvPr>
          <p:cNvSpPr txBox="1"/>
          <p:nvPr/>
        </p:nvSpPr>
        <p:spPr>
          <a:xfrm>
            <a:off x="237098" y="138696"/>
            <a:ext cx="12294606" cy="5193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2000" b="1">
                <a:solidFill>
                  <a:schemeClr val="accent1"/>
                </a:solidFill>
                <a:latin typeface="+mj-lt"/>
              </a:rPr>
              <a:t>Data Summary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49E94A7-D37F-AD75-BB10-352947C40D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8096798"/>
              </p:ext>
            </p:extLst>
          </p:nvPr>
        </p:nvGraphicFramePr>
        <p:xfrm>
          <a:off x="5753766" y="1206623"/>
          <a:ext cx="5496126" cy="4618885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155024">
                  <a:extLst>
                    <a:ext uri="{9D8B030D-6E8A-4147-A177-3AD203B41FA5}">
                      <a16:colId xmlns:a16="http://schemas.microsoft.com/office/drawing/2014/main" val="3042215092"/>
                    </a:ext>
                  </a:extLst>
                </a:gridCol>
                <a:gridCol w="3341102">
                  <a:extLst>
                    <a:ext uri="{9D8B030D-6E8A-4147-A177-3AD203B41FA5}">
                      <a16:colId xmlns:a16="http://schemas.microsoft.com/office/drawing/2014/main" val="2676140418"/>
                    </a:ext>
                  </a:extLst>
                </a:gridCol>
              </a:tblGrid>
              <a:tr h="325148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+mn-lt"/>
                        </a:rPr>
                        <a:t>Field Nam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+mn-lt"/>
                        </a:rPr>
                        <a:t>Sampl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7128661"/>
                  </a:ext>
                </a:extLst>
              </a:tr>
              <a:tr h="325148"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ar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5</a:t>
                      </a:r>
                      <a:endParaRPr lang="en-US" sz="1200">
                        <a:latin typeface="+mn-lt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6497263"/>
                  </a:ext>
                </a:extLst>
              </a:tr>
              <a:tr h="325148"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te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lifornia</a:t>
                      </a:r>
                      <a:endParaRPr lang="en-US" sz="1200">
                        <a:latin typeface="+mn-lt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95848233"/>
                  </a:ext>
                </a:extLst>
              </a:tr>
              <a:tr h="325148"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ill Number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B-503</a:t>
                      </a:r>
                      <a:endParaRPr lang="en-US" sz="1200">
                        <a:latin typeface="+mn-lt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02189746"/>
                  </a:ext>
                </a:extLst>
              </a:tr>
              <a:tr h="329046"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ill Title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ealth care services: artificial intelligence.</a:t>
                      </a:r>
                      <a:endParaRPr lang="en-US" sz="1200">
                        <a:latin typeface="+mn-lt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0405518"/>
                  </a:ext>
                </a:extLst>
              </a:tr>
              <a:tr h="609653"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mmary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n act to add Section 1339.76 to the Health and Safety Code, relating to health care services.</a:t>
                      </a:r>
                      <a:endParaRPr lang="en-US" sz="1200">
                        <a:latin typeface="+mn-lt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65336678"/>
                  </a:ext>
                </a:extLst>
              </a:tr>
              <a:tr h="325148"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onsors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eber Pierson</a:t>
                      </a:r>
                      <a:endParaRPr lang="en-US" sz="1200">
                        <a:latin typeface="+mn-lt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03129056"/>
                  </a:ext>
                </a:extLst>
              </a:tr>
              <a:tr h="469349"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ast Action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ad second time and amended. Re-referred to Com. on  APPR.</a:t>
                      </a:r>
                      <a:endParaRPr lang="en-US" sz="1200">
                        <a:latin typeface="+mn-lt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68127914"/>
                  </a:ext>
                </a:extLst>
              </a:tr>
              <a:tr h="609653"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ill Link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ttps://leginfo.legislature.ca.gov/faces/billStatusClient.xhtml?bill_id=202520260SB503</a:t>
                      </a:r>
                      <a:endParaRPr lang="en-US" sz="1200">
                        <a:latin typeface="+mn-lt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30211355"/>
                  </a:ext>
                </a:extLst>
              </a:tr>
              <a:tr h="325148"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ast Action Date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7/17/25</a:t>
                      </a:r>
                      <a:endParaRPr lang="en-US" sz="1200">
                        <a:latin typeface="+mn-lt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96272370"/>
                  </a:ext>
                </a:extLst>
              </a:tr>
              <a:tr h="325148"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eyword Matching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tificial intelligence</a:t>
                      </a:r>
                      <a:endParaRPr lang="en-US" sz="1200">
                        <a:latin typeface="+mn-lt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0551945"/>
                  </a:ext>
                </a:extLst>
              </a:tr>
              <a:tr h="325148">
                <a:tc>
                  <a:txBody>
                    <a:bodyPr/>
                    <a:lstStyle/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traction Date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/23/2025  </a:t>
                      </a:r>
                      <a:endParaRPr lang="en-US" sz="1200">
                        <a:latin typeface="+mn-lt"/>
                      </a:endParaRPr>
                    </a:p>
                  </a:txBody>
                  <a:tcPr marL="9525" marR="9525" marT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47573294"/>
                  </a:ext>
                </a:extLst>
              </a:tr>
            </a:tbl>
          </a:graphicData>
        </a:graphic>
      </p:graphicFrame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FD3A6F7-4A42-78B4-811C-F4FDB69529DC}"/>
              </a:ext>
            </a:extLst>
          </p:cNvPr>
          <p:cNvSpPr/>
          <p:nvPr/>
        </p:nvSpPr>
        <p:spPr>
          <a:xfrm>
            <a:off x="536929" y="1499254"/>
            <a:ext cx="3844772" cy="4326254"/>
          </a:xfrm>
          <a:prstGeom prst="roundRect">
            <a:avLst>
              <a:gd name="adj" fmla="val 7480"/>
            </a:avLst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>
                <a:solidFill>
                  <a:schemeClr val="tx1"/>
                </a:solidFill>
              </a:rPr>
              <a:t>Keywords to look for :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1400" b="1">
              <a:solidFill>
                <a:schemeClr val="tx1"/>
              </a:solidFill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400">
                <a:solidFill>
                  <a:schemeClr val="tx1"/>
                </a:solidFill>
              </a:rPr>
              <a:t>Artificial intelligence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400">
                <a:solidFill>
                  <a:schemeClr val="tx1"/>
                </a:solidFill>
              </a:rPr>
              <a:t>Automated decision making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400">
                <a:solidFill>
                  <a:schemeClr val="tx1"/>
                </a:solidFill>
              </a:rPr>
              <a:t>Automate decision support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400">
                <a:solidFill>
                  <a:schemeClr val="tx1"/>
                </a:solidFill>
              </a:rPr>
              <a:t>Clean claims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400">
                <a:solidFill>
                  <a:schemeClr val="tx1"/>
                </a:solidFill>
              </a:rPr>
              <a:t>Clinical decision support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400">
                <a:solidFill>
                  <a:schemeClr val="tx1"/>
                </a:solidFill>
              </a:rPr>
              <a:t>Coordination of benefits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400">
                <a:solidFill>
                  <a:schemeClr val="tx1"/>
                </a:solidFill>
              </a:rPr>
              <a:t>Health carriers and payment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400">
                <a:solidFill>
                  <a:schemeClr val="tx1"/>
                </a:solidFill>
              </a:rPr>
              <a:t>Medical necessity review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400">
                <a:solidFill>
                  <a:schemeClr val="tx1"/>
                </a:solidFill>
              </a:rPr>
              <a:t>Payment and health carriers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400">
                <a:solidFill>
                  <a:schemeClr val="tx1"/>
                </a:solidFill>
              </a:rPr>
              <a:t>Preauthorization 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400">
                <a:solidFill>
                  <a:schemeClr val="tx1"/>
                </a:solidFill>
              </a:rPr>
              <a:t>Prior authorization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400">
                <a:solidFill>
                  <a:schemeClr val="tx1"/>
                </a:solidFill>
              </a:rPr>
              <a:t>Prompt pay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400">
                <a:solidFill>
                  <a:schemeClr val="tx1"/>
                </a:solidFill>
              </a:rPr>
              <a:t>Prompt payment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400">
                <a:solidFill>
                  <a:schemeClr val="tx1"/>
                </a:solidFill>
              </a:rPr>
              <a:t>Utilization review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400">
                <a:solidFill>
                  <a:schemeClr val="tx1"/>
                </a:solidFill>
              </a:rPr>
              <a:t>Utilization management</a:t>
            </a:r>
          </a:p>
        </p:txBody>
      </p:sp>
    </p:spTree>
    <p:extLst>
      <p:ext uri="{BB962C8B-B14F-4D97-AF65-F5344CB8AC3E}">
        <p14:creationId xmlns:p14="http://schemas.microsoft.com/office/powerpoint/2010/main" val="155984958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D3A2F6B-4A7B-FF8D-35B4-AB9DD22FDD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F7DED1-DF70-C582-1DCB-0E566D8D6D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38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F8C3AF-BAFF-CB04-8C41-53767E45A24B}"/>
              </a:ext>
            </a:extLst>
          </p:cNvPr>
          <p:cNvSpPr txBox="1"/>
          <p:nvPr/>
        </p:nvSpPr>
        <p:spPr>
          <a:xfrm>
            <a:off x="120532" y="192652"/>
            <a:ext cx="11571839" cy="58574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2000" b="1">
                <a:solidFill>
                  <a:schemeClr val="accent1"/>
                </a:solidFill>
                <a:latin typeface="Montserrat" panose="00000500000000000000" pitchFamily="2" charset="0"/>
              </a:rPr>
              <a:t>Project Life Cycle</a:t>
            </a:r>
          </a:p>
        </p:txBody>
      </p:sp>
      <p:sp>
        <p:nvSpPr>
          <p:cNvPr id="5" name="Arrow: Chevron 4">
            <a:extLst>
              <a:ext uri="{FF2B5EF4-FFF2-40B4-BE49-F238E27FC236}">
                <a16:creationId xmlns:a16="http://schemas.microsoft.com/office/drawing/2014/main" id="{A01A20EF-1012-FCCC-B426-00EC87A20FCA}"/>
              </a:ext>
            </a:extLst>
          </p:cNvPr>
          <p:cNvSpPr/>
          <p:nvPr/>
        </p:nvSpPr>
        <p:spPr>
          <a:xfrm>
            <a:off x="832104" y="2240279"/>
            <a:ext cx="2203704" cy="585747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C6B5DB09-B64D-07F8-A966-7D6B15B61CEE}"/>
              </a:ext>
            </a:extLst>
          </p:cNvPr>
          <p:cNvSpPr/>
          <p:nvPr/>
        </p:nvSpPr>
        <p:spPr>
          <a:xfrm>
            <a:off x="2859024" y="2240278"/>
            <a:ext cx="2203704" cy="585749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E00A6DD2-CBB7-B86A-3343-41D86A2CA2FF}"/>
              </a:ext>
            </a:extLst>
          </p:cNvPr>
          <p:cNvSpPr/>
          <p:nvPr/>
        </p:nvSpPr>
        <p:spPr>
          <a:xfrm>
            <a:off x="4885944" y="2240278"/>
            <a:ext cx="2203704" cy="585749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87AA3FC1-96FF-6B77-1658-406E025CC065}"/>
              </a:ext>
            </a:extLst>
          </p:cNvPr>
          <p:cNvSpPr/>
          <p:nvPr/>
        </p:nvSpPr>
        <p:spPr>
          <a:xfrm>
            <a:off x="6912864" y="2240278"/>
            <a:ext cx="2203704" cy="585749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F79E1FD7-CDB8-A453-10F9-625847BAC1ED}"/>
              </a:ext>
            </a:extLst>
          </p:cNvPr>
          <p:cNvSpPr/>
          <p:nvPr/>
        </p:nvSpPr>
        <p:spPr>
          <a:xfrm>
            <a:off x="8939784" y="2240277"/>
            <a:ext cx="2203704" cy="585749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56ABAFF-9FB8-6208-C19D-DAE643FB02A2}"/>
              </a:ext>
            </a:extLst>
          </p:cNvPr>
          <p:cNvSpPr/>
          <p:nvPr/>
        </p:nvSpPr>
        <p:spPr>
          <a:xfrm>
            <a:off x="1476432" y="2075627"/>
            <a:ext cx="915048" cy="915048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latin typeface="Montserrat" panose="00000500000000000000" pitchFamily="2" charset="0"/>
              </a:rPr>
              <a:t>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43F2AFD-7DA8-1FC0-8B2E-E07C9490D306}"/>
              </a:ext>
            </a:extLst>
          </p:cNvPr>
          <p:cNvSpPr txBox="1"/>
          <p:nvPr/>
        </p:nvSpPr>
        <p:spPr>
          <a:xfrm>
            <a:off x="7946789" y="421753"/>
            <a:ext cx="1270954" cy="36933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/>
              <a:t>Runtime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3C52D180-B8AC-C378-BD0E-B5D38B095759}"/>
              </a:ext>
            </a:extLst>
          </p:cNvPr>
          <p:cNvSpPr/>
          <p:nvPr/>
        </p:nvSpPr>
        <p:spPr>
          <a:xfrm>
            <a:off x="8012399" y="766546"/>
            <a:ext cx="3111118" cy="641156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accent2"/>
                </a:solidFill>
              </a:rPr>
              <a:t>2 minutes to 15 minutes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B5A8EF5-9512-2F5D-7D2C-F753415618CF}"/>
              </a:ext>
            </a:extLst>
          </p:cNvPr>
          <p:cNvSpPr txBox="1"/>
          <p:nvPr/>
        </p:nvSpPr>
        <p:spPr>
          <a:xfrm>
            <a:off x="3898534" y="421753"/>
            <a:ext cx="2066400" cy="36933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/>
              <a:t>Manual Runtime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425F85D0-B004-E6A0-072D-77A4EA8B42C1}"/>
              </a:ext>
            </a:extLst>
          </p:cNvPr>
          <p:cNvSpPr/>
          <p:nvPr/>
        </p:nvSpPr>
        <p:spPr>
          <a:xfrm>
            <a:off x="3953137" y="766546"/>
            <a:ext cx="3111118" cy="641156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accent2"/>
                </a:solidFill>
              </a:rPr>
              <a:t>2 Hours</a:t>
            </a:r>
          </a:p>
        </p:txBody>
      </p:sp>
    </p:spTree>
    <p:extLst>
      <p:ext uri="{BB962C8B-B14F-4D97-AF65-F5344CB8AC3E}">
        <p14:creationId xmlns:p14="http://schemas.microsoft.com/office/powerpoint/2010/main" val="428296737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53E4651-246F-5E7D-8CAF-A4E3CFB2E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964217" y="7090065"/>
            <a:ext cx="260985" cy="132438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6DD91480-F77C-C9AD-2636-82A4BBF979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96542213"/>
              </p:ext>
            </p:extLst>
          </p:nvPr>
        </p:nvGraphicFramePr>
        <p:xfrm>
          <a:off x="2555587" y="1100256"/>
          <a:ext cx="4374603" cy="26160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72B818C8-2691-E709-BB1E-5F46CB2765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97931170"/>
              </p:ext>
            </p:extLst>
          </p:nvPr>
        </p:nvGraphicFramePr>
        <p:xfrm>
          <a:off x="7159002" y="705832"/>
          <a:ext cx="3829296" cy="37421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4" name="TextBox 33">
            <a:extLst>
              <a:ext uri="{FF2B5EF4-FFF2-40B4-BE49-F238E27FC236}">
                <a16:creationId xmlns:a16="http://schemas.microsoft.com/office/drawing/2014/main" id="{DA7DFD29-8564-F1F2-365B-14EFF7421028}"/>
              </a:ext>
            </a:extLst>
          </p:cNvPr>
          <p:cNvSpPr txBox="1"/>
          <p:nvPr/>
        </p:nvSpPr>
        <p:spPr>
          <a:xfrm>
            <a:off x="1626671" y="373842"/>
            <a:ext cx="911760" cy="15852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2400" b="1">
                <a:solidFill>
                  <a:schemeClr val="accent2"/>
                </a:solidFill>
              </a:rPr>
              <a:t>Progress</a:t>
            </a:r>
          </a:p>
        </p:txBody>
      </p:sp>
    </p:spTree>
    <p:extLst>
      <p:ext uri="{BB962C8B-B14F-4D97-AF65-F5344CB8AC3E}">
        <p14:creationId xmlns:p14="http://schemas.microsoft.com/office/powerpoint/2010/main" val="41299447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C073D0D-4F45-3771-C34C-EA297AF6A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4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326E06-9FF4-3914-5DC7-F0DA7F1B914F}"/>
              </a:ext>
            </a:extLst>
          </p:cNvPr>
          <p:cNvSpPr txBox="1"/>
          <p:nvPr/>
        </p:nvSpPr>
        <p:spPr>
          <a:xfrm>
            <a:off x="302305" y="207194"/>
            <a:ext cx="5222595" cy="48888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2400" b="1" dirty="0">
                <a:solidFill>
                  <a:schemeClr val="accent1"/>
                </a:solidFill>
                <a:latin typeface="Montserrat" panose="00000500000000000000" pitchFamily="2" charset="0"/>
              </a:rPr>
              <a:t>Internship Progress Timeline: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474BCDA-4800-10B1-81F9-4C844C7DCB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421549"/>
              </p:ext>
            </p:extLst>
          </p:nvPr>
        </p:nvGraphicFramePr>
        <p:xfrm>
          <a:off x="1978789" y="696082"/>
          <a:ext cx="10104120" cy="4846324"/>
        </p:xfrm>
        <a:graphic>
          <a:graphicData uri="http://schemas.openxmlformats.org/drawingml/2006/table">
            <a:tbl>
              <a:tblPr/>
              <a:tblGrid>
                <a:gridCol w="594360">
                  <a:extLst>
                    <a:ext uri="{9D8B030D-6E8A-4147-A177-3AD203B41FA5}">
                      <a16:colId xmlns:a16="http://schemas.microsoft.com/office/drawing/2014/main" val="726538222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val="3198081378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val="424966666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val="841740041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val="1284145306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val="1192810416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val="1275779209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val="1926271545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val="3923033175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val="3143135555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val="1542349861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val="2618163694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val="3562561015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val="643506470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val="160334566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val="2772447072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val="3815293049"/>
                    </a:ext>
                  </a:extLst>
                </a:gridCol>
              </a:tblGrid>
              <a:tr h="93051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Week 1</a:t>
                      </a:r>
                      <a:b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</a:b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 Jun</a:t>
                      </a:r>
                    </a:p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30</a:t>
                      </a:r>
                      <a:r>
                        <a:rPr lang="en-US" sz="800" b="0" i="0" baseline="3000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th</a:t>
                      </a:r>
                      <a:endParaRPr lang="en-US" sz="800" b="0" i="0" dirty="0">
                        <a:solidFill>
                          <a:srgbClr val="FFFFFF"/>
                        </a:solidFill>
                        <a:effectLst/>
                        <a:highlight>
                          <a:srgbClr val="30006F"/>
                        </a:highlight>
                        <a:latin typeface="Montserrat" panose="00000500000000000000" pitchFamily="2" charset="0"/>
                      </a:endParaRPr>
                    </a:p>
                  </a:txBody>
                  <a:tcPr anchor="ctr"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Week 2</a:t>
                      </a:r>
                      <a:b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</a:b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 July 7</a:t>
                      </a:r>
                      <a:r>
                        <a:rPr lang="en-US" sz="800" b="0" i="0" baseline="3000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th</a:t>
                      </a: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  </a:t>
                      </a:r>
                    </a:p>
                  </a:txBody>
                  <a:tcPr anchor="ctr"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Week 3</a:t>
                      </a:r>
                      <a:b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</a:b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 July 14</a:t>
                      </a:r>
                      <a:r>
                        <a:rPr lang="en-US" sz="800" b="0" i="0" baseline="3000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h</a:t>
                      </a: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 </a:t>
                      </a:r>
                    </a:p>
                  </a:txBody>
                  <a:tcPr anchor="ctr"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Week 4</a:t>
                      </a:r>
                      <a:b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</a:b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 July 21</a:t>
                      </a:r>
                      <a:r>
                        <a:rPr lang="en-US" sz="800" b="0" i="0" baseline="3000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st</a:t>
                      </a: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 </a:t>
                      </a:r>
                    </a:p>
                  </a:txBody>
                  <a:tcPr anchor="ctr"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Week 5 July</a:t>
                      </a:r>
                    </a:p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28</a:t>
                      </a:r>
                      <a:r>
                        <a:rPr lang="en-US" sz="800" b="0" i="0" baseline="3000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th</a:t>
                      </a: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 </a:t>
                      </a:r>
                    </a:p>
                  </a:txBody>
                  <a:tcPr anchor="ctr"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Week 6</a:t>
                      </a:r>
                    </a:p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Aug  4</a:t>
                      </a:r>
                      <a:r>
                        <a:rPr lang="en-US" sz="800" b="0" i="0" baseline="3000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th</a:t>
                      </a: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 </a:t>
                      </a:r>
                    </a:p>
                  </a:txBody>
                  <a:tcPr anchor="ctr"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Week 7</a:t>
                      </a:r>
                    </a:p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Aug 11</a:t>
                      </a:r>
                      <a:r>
                        <a:rPr lang="en-US" sz="800" b="0" i="0" baseline="3000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th</a:t>
                      </a: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 </a:t>
                      </a:r>
                    </a:p>
                  </a:txBody>
                  <a:tcPr anchor="ctr"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Week 8</a:t>
                      </a:r>
                    </a:p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Aug 18</a:t>
                      </a:r>
                      <a:r>
                        <a:rPr lang="en-US" sz="800" b="0" i="0" baseline="3000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th</a:t>
                      </a: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 </a:t>
                      </a:r>
                    </a:p>
                  </a:txBody>
                  <a:tcPr anchor="ctr"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Week 9</a:t>
                      </a:r>
                    </a:p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Aug 25</a:t>
                      </a:r>
                      <a:r>
                        <a:rPr lang="en-US" sz="800" b="0" i="0" baseline="3000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th</a:t>
                      </a: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  </a:t>
                      </a:r>
                    </a:p>
                  </a:txBody>
                  <a:tcPr anchor="ctr"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Week 10</a:t>
                      </a:r>
                    </a:p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Sept 1</a:t>
                      </a:r>
                      <a:r>
                        <a:rPr lang="en-US" sz="800" b="0" i="0" baseline="3000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st</a:t>
                      </a: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 </a:t>
                      </a:r>
                    </a:p>
                  </a:txBody>
                  <a:tcPr anchor="ctr"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Week 11</a:t>
                      </a:r>
                    </a:p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Sept 8</a:t>
                      </a:r>
                      <a:r>
                        <a:rPr lang="en-US" sz="800" b="0" i="0" baseline="3000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th</a:t>
                      </a: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  </a:t>
                      </a:r>
                    </a:p>
                  </a:txBody>
                  <a:tcPr anchor="ctr"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Week 12</a:t>
                      </a:r>
                    </a:p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Sept 15</a:t>
                      </a:r>
                      <a:r>
                        <a:rPr lang="en-US" sz="800" b="0" i="0" baseline="3000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th</a:t>
                      </a: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  </a:t>
                      </a:r>
                    </a:p>
                  </a:txBody>
                  <a:tcPr anchor="ctr"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Week 13</a:t>
                      </a:r>
                    </a:p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Sept 22</a:t>
                      </a:r>
                      <a:r>
                        <a:rPr lang="en-US" sz="800" b="0" i="0" baseline="3000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nd</a:t>
                      </a: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 </a:t>
                      </a:r>
                    </a:p>
                  </a:txBody>
                  <a:tcPr anchor="ctr"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Week 14</a:t>
                      </a:r>
                    </a:p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Sept 29</a:t>
                      </a:r>
                      <a:r>
                        <a:rPr lang="en-US" sz="800" b="0" i="0" baseline="3000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th </a:t>
                      </a: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 </a:t>
                      </a:r>
                    </a:p>
                  </a:txBody>
                  <a:tcPr anchor="ctr"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Week 15</a:t>
                      </a:r>
                      <a:b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</a:b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Oct  6</a:t>
                      </a:r>
                      <a:r>
                        <a:rPr lang="en-US" sz="800" b="0" i="0" baseline="3000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th</a:t>
                      </a: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 </a:t>
                      </a:r>
                    </a:p>
                  </a:txBody>
                  <a:tcPr anchor="ctr"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Week 16</a:t>
                      </a:r>
                    </a:p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Oct 13</a:t>
                      </a:r>
                      <a:r>
                        <a:rPr lang="en-US" sz="800" b="0" i="0" baseline="3000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th</a:t>
                      </a: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 </a:t>
                      </a:r>
                    </a:p>
                  </a:txBody>
                  <a:tcPr anchor="ctr"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Week 16</a:t>
                      </a:r>
                    </a:p>
                    <a:p>
                      <a:pPr algn="ctr" fontAlgn="base"/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Oct 17</a:t>
                      </a:r>
                      <a:r>
                        <a:rPr lang="en-US" sz="800" b="0" i="0" baseline="3000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th</a:t>
                      </a:r>
                      <a:r>
                        <a:rPr lang="en-US" sz="8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 </a:t>
                      </a:r>
                    </a:p>
                  </a:txBody>
                  <a:tcPr anchor="ctr"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2352793"/>
                  </a:ext>
                </a:extLst>
              </a:tr>
              <a:tr h="478942"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 dirty="0">
                          <a:solidFill>
                            <a:srgbClr val="000000"/>
                          </a:solidFill>
                          <a:effectLst/>
                          <a:highlight>
                            <a:srgbClr val="EC008C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>
                          <a:solidFill>
                            <a:srgbClr val="000000"/>
                          </a:solidFill>
                          <a:effectLst/>
                          <a:highlight>
                            <a:srgbClr val="CDCBD5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 dirty="0">
                          <a:solidFill>
                            <a:srgbClr val="000000"/>
                          </a:solidFill>
                          <a:effectLst/>
                          <a:highlight>
                            <a:srgbClr val="CDCBD5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>
                          <a:solidFill>
                            <a:srgbClr val="000000"/>
                          </a:solidFill>
                          <a:effectLst/>
                          <a:highlight>
                            <a:srgbClr val="CDCBD5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>
                          <a:solidFill>
                            <a:srgbClr val="000000"/>
                          </a:solidFill>
                          <a:effectLst/>
                          <a:highlight>
                            <a:srgbClr val="CDCBD5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>
                          <a:solidFill>
                            <a:srgbClr val="000000"/>
                          </a:solidFill>
                          <a:effectLst/>
                          <a:highlight>
                            <a:srgbClr val="CDCBD5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CDCBD5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CDCBD5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CDCBD5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CDCBD5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CDCBD5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CDCBD5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CDCBD5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CDCBD5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CDCBD5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CDCBD5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CDCBD5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6024077"/>
                  </a:ext>
                </a:extLst>
              </a:tr>
              <a:tr h="478942"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 dirty="0">
                          <a:solidFill>
                            <a:srgbClr val="000000"/>
                          </a:solidFill>
                          <a:effectLst/>
                          <a:highlight>
                            <a:srgbClr val="E8E7EB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 dirty="0">
                          <a:solidFill>
                            <a:schemeClr val="accent3"/>
                          </a:solidFill>
                          <a:effectLst/>
                          <a:highlight>
                            <a:srgbClr val="EC008C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 dirty="0">
                          <a:solidFill>
                            <a:srgbClr val="000000"/>
                          </a:solidFill>
                          <a:effectLst/>
                          <a:highlight>
                            <a:srgbClr val="E8E7EB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 dirty="0">
                          <a:solidFill>
                            <a:srgbClr val="000000"/>
                          </a:solidFill>
                          <a:effectLst/>
                          <a:highlight>
                            <a:srgbClr val="E8E7EB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 dirty="0">
                          <a:solidFill>
                            <a:srgbClr val="000000"/>
                          </a:solidFill>
                          <a:effectLst/>
                          <a:highlight>
                            <a:srgbClr val="E8E7EB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 dirty="0">
                          <a:solidFill>
                            <a:srgbClr val="000000"/>
                          </a:solidFill>
                          <a:effectLst/>
                          <a:highlight>
                            <a:srgbClr val="E8E7EB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3105648"/>
                  </a:ext>
                </a:extLst>
              </a:tr>
              <a:tr h="478942">
                <a:tc>
                  <a:txBody>
                    <a:bodyPr/>
                    <a:lstStyle/>
                    <a:p>
                      <a:endParaRPr lang="en-US"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>
                          <a:solidFill>
                            <a:srgbClr val="000000"/>
                          </a:solidFill>
                          <a:effectLst/>
                          <a:highlight>
                            <a:srgbClr val="CDCBD5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>
                          <a:solidFill>
                            <a:schemeClr val="accent3"/>
                          </a:solidFill>
                          <a:effectLst/>
                          <a:highlight>
                            <a:srgbClr val="CDCBD5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>
                          <a:solidFill>
                            <a:srgbClr val="000000"/>
                          </a:solidFill>
                          <a:effectLst/>
                          <a:highlight>
                            <a:srgbClr val="EC008C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3469394"/>
                  </a:ext>
                </a:extLst>
              </a:tr>
              <a:tr h="478942"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 dirty="0">
                          <a:solidFill>
                            <a:srgbClr val="000000"/>
                          </a:solidFill>
                          <a:effectLst/>
                          <a:highlight>
                            <a:srgbClr val="EC008C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 dirty="0">
                          <a:solidFill>
                            <a:srgbClr val="000000"/>
                          </a:solidFill>
                          <a:effectLst/>
                          <a:highlight>
                            <a:srgbClr val="EC008C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 dirty="0">
                          <a:solidFill>
                            <a:srgbClr val="000000"/>
                          </a:solidFill>
                          <a:effectLst/>
                          <a:highlight>
                            <a:srgbClr val="EC008C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 dirty="0">
                          <a:solidFill>
                            <a:srgbClr val="000000"/>
                          </a:solidFill>
                          <a:effectLst/>
                          <a:highlight>
                            <a:srgbClr val="EC008C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 dirty="0">
                          <a:solidFill>
                            <a:srgbClr val="000000"/>
                          </a:solidFill>
                          <a:effectLst/>
                          <a:highlight>
                            <a:srgbClr val="EC008C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 dirty="0">
                          <a:solidFill>
                            <a:srgbClr val="000000"/>
                          </a:solidFill>
                          <a:effectLst/>
                          <a:highlight>
                            <a:srgbClr val="EC008C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940200"/>
                  </a:ext>
                </a:extLst>
              </a:tr>
              <a:tr h="563218"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 dirty="0">
                          <a:solidFill>
                            <a:srgbClr val="000000"/>
                          </a:solidFill>
                          <a:effectLst/>
                          <a:highlight>
                            <a:srgbClr val="CDCBD5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>
                          <a:solidFill>
                            <a:srgbClr val="000000"/>
                          </a:solidFill>
                          <a:effectLst/>
                          <a:highlight>
                            <a:srgbClr val="CDCBD5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>
                          <a:solidFill>
                            <a:srgbClr val="000000"/>
                          </a:solidFill>
                          <a:effectLst/>
                          <a:highlight>
                            <a:srgbClr val="EC008C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>
                          <a:solidFill>
                            <a:srgbClr val="000000"/>
                          </a:solidFill>
                          <a:effectLst/>
                          <a:highlight>
                            <a:srgbClr val="EC008C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>
                          <a:solidFill>
                            <a:srgbClr val="000000"/>
                          </a:solidFill>
                          <a:effectLst/>
                          <a:highlight>
                            <a:srgbClr val="EC008C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350" b="0" i="0">
                          <a:solidFill>
                            <a:srgbClr val="000000"/>
                          </a:solidFill>
                          <a:effectLst/>
                          <a:highlight>
                            <a:srgbClr val="EC008C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5203309"/>
                  </a:ext>
                </a:extLst>
              </a:tr>
              <a:tr h="478942"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1907011"/>
                  </a:ext>
                </a:extLst>
              </a:tr>
              <a:tr h="478942"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031518"/>
                  </a:ext>
                </a:extLst>
              </a:tr>
              <a:tr h="478942"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>
                        <a:solidFill>
                          <a:srgbClr val="000000"/>
                        </a:solidFill>
                        <a:effectLst/>
                        <a:highlight>
                          <a:srgbClr val="E8E7EB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350" b="0" i="0" dirty="0">
                        <a:solidFill>
                          <a:srgbClr val="000000"/>
                        </a:solidFill>
                        <a:effectLst/>
                        <a:highlight>
                          <a:srgbClr val="EC008C"/>
                        </a:highlight>
                        <a:latin typeface="Montserrat" panose="00000500000000000000" pitchFamily="2" charset="0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4119648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BF80607-EA6F-F478-0FD4-A3A4044DDA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1135657"/>
              </p:ext>
            </p:extLst>
          </p:nvPr>
        </p:nvGraphicFramePr>
        <p:xfrm>
          <a:off x="97655" y="715332"/>
          <a:ext cx="1881134" cy="4655678"/>
        </p:xfrm>
        <a:graphic>
          <a:graphicData uri="http://schemas.openxmlformats.org/drawingml/2006/table">
            <a:tbl>
              <a:tblPr/>
              <a:tblGrid>
                <a:gridCol w="1881134">
                  <a:extLst>
                    <a:ext uri="{9D8B030D-6E8A-4147-A177-3AD203B41FA5}">
                      <a16:colId xmlns:a16="http://schemas.microsoft.com/office/drawing/2014/main" val="726538222"/>
                    </a:ext>
                  </a:extLst>
                </a:gridCol>
              </a:tblGrid>
              <a:tr h="907587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i="0" dirty="0">
                          <a:solidFill>
                            <a:srgbClr val="FFFFFF"/>
                          </a:solidFill>
                          <a:effectLst/>
                          <a:highlight>
                            <a:srgbClr val="30006F"/>
                          </a:highlight>
                          <a:latin typeface="Montserrat" panose="00000500000000000000" pitchFamily="2" charset="0"/>
                        </a:rPr>
                        <a:t>Task</a:t>
                      </a:r>
                      <a:endParaRPr lang="en-US" sz="2400" b="0" i="0" dirty="0">
                        <a:solidFill>
                          <a:srgbClr val="FFFFFF"/>
                        </a:solidFill>
                        <a:effectLst/>
                        <a:highlight>
                          <a:srgbClr val="30006F"/>
                        </a:highlight>
                      </a:endParaRPr>
                    </a:p>
                  </a:txBody>
                  <a:tcPr anchor="ctr"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2352793"/>
                  </a:ext>
                </a:extLst>
              </a:tr>
              <a:tr h="481263">
                <a:tc>
                  <a:txBody>
                    <a:bodyPr/>
                    <a:lstStyle/>
                    <a:p>
                      <a:pPr algn="l" fontAlgn="auto">
                        <a:lnSpc>
                          <a:spcPct val="150000"/>
                        </a:lnSpc>
                      </a:pPr>
                      <a:r>
                        <a:rPr lang="en-US" sz="1050" b="0" i="0" dirty="0">
                          <a:solidFill>
                            <a:schemeClr val="accent1"/>
                          </a:solidFill>
                          <a:effectLst/>
                          <a:highlight>
                            <a:srgbClr val="CDCBD5"/>
                          </a:highlight>
                          <a:latin typeface="Montserrat" panose="00000500000000000000" pitchFamily="2" charset="0"/>
                        </a:rPr>
                        <a:t>​</a:t>
                      </a:r>
                      <a:r>
                        <a:rPr lang="en-US" sz="1050" b="0" i="0" dirty="0">
                          <a:solidFill>
                            <a:schemeClr val="accent1"/>
                          </a:solidFill>
                          <a:effectLst/>
                          <a:latin typeface="Montserrat" panose="00000500000000000000" pitchFamily="2" charset="0"/>
                        </a:rPr>
                        <a:t>Orientation &amp; Training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619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024077"/>
                  </a:ext>
                </a:extLst>
              </a:tr>
              <a:tr h="482342">
                <a:tc>
                  <a:txBody>
                    <a:bodyPr/>
                    <a:lstStyle/>
                    <a:p>
                      <a:pPr algn="l" fontAlgn="auto">
                        <a:lnSpc>
                          <a:spcPct val="150000"/>
                        </a:lnSpc>
                      </a:pPr>
                      <a:r>
                        <a:rPr lang="en-US" sz="1050" b="0" i="0" kern="1200" dirty="0">
                          <a:solidFill>
                            <a:schemeClr val="accen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​Project Scope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3105648"/>
                  </a:ext>
                </a:extLst>
              </a:tr>
              <a:tr h="470559">
                <a:tc>
                  <a:txBody>
                    <a:bodyPr/>
                    <a:lstStyle/>
                    <a:p>
                      <a:pPr algn="l" fontAlgn="auto">
                        <a:lnSpc>
                          <a:spcPct val="150000"/>
                        </a:lnSpc>
                      </a:pPr>
                      <a:r>
                        <a:rPr lang="en-US" sz="1050" b="0" i="0" kern="1200" dirty="0">
                          <a:solidFill>
                            <a:schemeClr val="accen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Research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4290047"/>
                  </a:ext>
                </a:extLst>
              </a:tr>
              <a:tr h="481263">
                <a:tc>
                  <a:txBody>
                    <a:bodyPr/>
                    <a:lstStyle/>
                    <a:p>
                      <a:pPr algn="l" fontAlgn="auto">
                        <a:lnSpc>
                          <a:spcPct val="150000"/>
                        </a:lnSpc>
                      </a:pPr>
                      <a:r>
                        <a:rPr lang="en-US" sz="1050" b="0" i="0" kern="1200" dirty="0">
                          <a:solidFill>
                            <a:schemeClr val="accen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​Web Crawling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3469394"/>
                  </a:ext>
                </a:extLst>
              </a:tr>
              <a:tr h="398500">
                <a:tc>
                  <a:txBody>
                    <a:bodyPr/>
                    <a:lstStyle/>
                    <a:p>
                      <a:pPr algn="l" fontAlgn="auto">
                        <a:lnSpc>
                          <a:spcPct val="150000"/>
                        </a:lnSpc>
                      </a:pPr>
                      <a:r>
                        <a:rPr lang="en-US" sz="1050" b="0" i="0" kern="1200">
                          <a:solidFill>
                            <a:schemeClr val="accen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Stakeholder Review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40200"/>
                  </a:ext>
                </a:extLst>
              </a:tr>
              <a:tr h="481263">
                <a:tc>
                  <a:txBody>
                    <a:bodyPr/>
                    <a:lstStyle/>
                    <a:p>
                      <a:pPr algn="l" fontAlgn="auto">
                        <a:lnSpc>
                          <a:spcPct val="150000"/>
                        </a:lnSpc>
                      </a:pPr>
                      <a:r>
                        <a:rPr lang="en-US" sz="1050" b="0" i="0" kern="1200" dirty="0">
                          <a:solidFill>
                            <a:schemeClr val="accen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Documentation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203309"/>
                  </a:ext>
                </a:extLst>
              </a:tr>
              <a:tr h="481263">
                <a:tc>
                  <a:txBody>
                    <a:bodyPr/>
                    <a:lstStyle/>
                    <a:p>
                      <a:pPr algn="l" fontAlgn="auto">
                        <a:lnSpc>
                          <a:spcPct val="150000"/>
                        </a:lnSpc>
                      </a:pPr>
                      <a:r>
                        <a:rPr lang="en-US" sz="1050" b="0" i="0" kern="1200">
                          <a:solidFill>
                            <a:schemeClr val="accen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Deployment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4367590"/>
                  </a:ext>
                </a:extLst>
              </a:tr>
              <a:tr h="471638">
                <a:tc>
                  <a:txBody>
                    <a:bodyPr/>
                    <a:lstStyle/>
                    <a:p>
                      <a:pPr algn="l" fontAlgn="auto">
                        <a:lnSpc>
                          <a:spcPct val="150000"/>
                        </a:lnSpc>
                      </a:pPr>
                      <a:r>
                        <a:rPr lang="en-US" sz="1050" b="0" i="0" kern="1200" dirty="0">
                          <a:solidFill>
                            <a:schemeClr val="accent1"/>
                          </a:solidFill>
                          <a:effectLst/>
                          <a:latin typeface="Montserrat" panose="00000500000000000000" pitchFamily="2" charset="0"/>
                          <a:ea typeface="+mn-ea"/>
                          <a:cs typeface="+mn-cs"/>
                        </a:rPr>
                        <a:t>Data Analysis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4526589"/>
                  </a:ext>
                </a:extLst>
              </a:tr>
            </a:tbl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CBF7E2AD-8F28-15AC-3B65-08C27576A118}"/>
              </a:ext>
            </a:extLst>
          </p:cNvPr>
          <p:cNvSpPr/>
          <p:nvPr/>
        </p:nvSpPr>
        <p:spPr>
          <a:xfrm>
            <a:off x="105238" y="5725210"/>
            <a:ext cx="1538114" cy="257175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latin typeface="Montserrat" panose="00000500000000000000" pitchFamily="2" charset="0"/>
              </a:rPr>
              <a:t>Legal IQ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C4F334F-E104-E089-927B-AEDE507E8553}"/>
              </a:ext>
            </a:extLst>
          </p:cNvPr>
          <p:cNvSpPr/>
          <p:nvPr/>
        </p:nvSpPr>
        <p:spPr>
          <a:xfrm>
            <a:off x="1851080" y="5725210"/>
            <a:ext cx="1538114" cy="257175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latin typeface="Montserrat" panose="00000500000000000000" pitchFamily="2" charset="0"/>
              </a:rPr>
              <a:t>OO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AA8DF2C-271C-8149-A42C-1BD00CEF993B}"/>
              </a:ext>
            </a:extLst>
          </p:cNvPr>
          <p:cNvSpPr/>
          <p:nvPr/>
        </p:nvSpPr>
        <p:spPr>
          <a:xfrm>
            <a:off x="11493910" y="4365523"/>
            <a:ext cx="580771" cy="2054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52750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2916CA0-1E7D-4DBE-3F24-9469A31DF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40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8CA203-8597-9C5F-D4FF-CAFB0B1E6321}"/>
              </a:ext>
            </a:extLst>
          </p:cNvPr>
          <p:cNvSpPr txBox="1"/>
          <p:nvPr/>
        </p:nvSpPr>
        <p:spPr>
          <a:xfrm>
            <a:off x="120532" y="192652"/>
            <a:ext cx="11571839" cy="58574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2000" b="1">
                <a:solidFill>
                  <a:schemeClr val="accent1"/>
                </a:solidFill>
                <a:latin typeface="Montserrat" panose="00000500000000000000" pitchFamily="2" charset="0"/>
              </a:rPr>
              <a:t>Project Life Cycle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A279C4B-3FE4-2ECA-E866-7A271122632E}"/>
              </a:ext>
            </a:extLst>
          </p:cNvPr>
          <p:cNvSpPr/>
          <p:nvPr/>
        </p:nvSpPr>
        <p:spPr>
          <a:xfrm>
            <a:off x="618836" y="3149600"/>
            <a:ext cx="1514764" cy="2244436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8D11FBF-AF5E-E89A-8FDC-6A9B4AAC2913}"/>
              </a:ext>
            </a:extLst>
          </p:cNvPr>
          <p:cNvSpPr/>
          <p:nvPr/>
        </p:nvSpPr>
        <p:spPr>
          <a:xfrm>
            <a:off x="928254" y="1607127"/>
            <a:ext cx="886691" cy="886691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5CB6B2D-9887-A585-B0B7-1183D1AE7CA9}"/>
              </a:ext>
            </a:extLst>
          </p:cNvPr>
          <p:cNvSpPr/>
          <p:nvPr/>
        </p:nvSpPr>
        <p:spPr>
          <a:xfrm>
            <a:off x="1078344" y="1757217"/>
            <a:ext cx="586510" cy="586510"/>
          </a:xfrm>
          <a:prstGeom prst="ellipse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latin typeface="Montserrat" panose="00000500000000000000" pitchFamily="2" charset="0"/>
              </a:rPr>
              <a:t>1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83C30DA1-5C51-5AF1-89E1-37D3D420B637}"/>
              </a:ext>
            </a:extLst>
          </p:cNvPr>
          <p:cNvSpPr/>
          <p:nvPr/>
        </p:nvSpPr>
        <p:spPr>
          <a:xfrm>
            <a:off x="2775527" y="3149600"/>
            <a:ext cx="1514764" cy="2244436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C71A3E1-694E-1C54-3ACF-39B5C8F16666}"/>
              </a:ext>
            </a:extLst>
          </p:cNvPr>
          <p:cNvSpPr/>
          <p:nvPr/>
        </p:nvSpPr>
        <p:spPr>
          <a:xfrm>
            <a:off x="3084945" y="1607127"/>
            <a:ext cx="886691" cy="886691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79EB8A7-A328-A64E-38B5-44F9F2BAA59C}"/>
              </a:ext>
            </a:extLst>
          </p:cNvPr>
          <p:cNvSpPr/>
          <p:nvPr/>
        </p:nvSpPr>
        <p:spPr>
          <a:xfrm>
            <a:off x="3235035" y="1757217"/>
            <a:ext cx="586510" cy="586510"/>
          </a:xfrm>
          <a:prstGeom prst="ellipse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latin typeface="Montserrat" panose="00000500000000000000" pitchFamily="2" charset="0"/>
              </a:rPr>
              <a:t>2</a:t>
            </a:r>
            <a:endParaRPr lang="en-US" sz="1400" b="1">
              <a:latin typeface="Montserrat" panose="00000500000000000000" pitchFamily="2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4DC6F164-A069-DFBF-C824-1AC2BD6DE609}"/>
              </a:ext>
            </a:extLst>
          </p:cNvPr>
          <p:cNvSpPr/>
          <p:nvPr/>
        </p:nvSpPr>
        <p:spPr>
          <a:xfrm>
            <a:off x="4932218" y="3149600"/>
            <a:ext cx="1514764" cy="2244436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1C447C49-F781-D18A-9000-0E41BEFAB978}"/>
              </a:ext>
            </a:extLst>
          </p:cNvPr>
          <p:cNvSpPr/>
          <p:nvPr/>
        </p:nvSpPr>
        <p:spPr>
          <a:xfrm>
            <a:off x="5241636" y="1607127"/>
            <a:ext cx="886691" cy="886691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1F05D76A-F00E-06AB-3D8E-3F0A88F6BC39}"/>
              </a:ext>
            </a:extLst>
          </p:cNvPr>
          <p:cNvSpPr/>
          <p:nvPr/>
        </p:nvSpPr>
        <p:spPr>
          <a:xfrm>
            <a:off x="5391726" y="1757217"/>
            <a:ext cx="586510" cy="586510"/>
          </a:xfrm>
          <a:prstGeom prst="ellipse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latin typeface="Montserrat" panose="00000500000000000000" pitchFamily="2" charset="0"/>
              </a:rPr>
              <a:t>3</a:t>
            </a:r>
            <a:endParaRPr lang="en-US" sz="1400" b="1">
              <a:latin typeface="Montserrat" panose="00000500000000000000" pitchFamily="2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B9DB5A29-879E-9066-F4ED-96D7037AC2AE}"/>
              </a:ext>
            </a:extLst>
          </p:cNvPr>
          <p:cNvSpPr/>
          <p:nvPr/>
        </p:nvSpPr>
        <p:spPr>
          <a:xfrm>
            <a:off x="7088909" y="3149600"/>
            <a:ext cx="1514764" cy="2244436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576C13DD-2DED-5556-A567-3EE039C0B950}"/>
              </a:ext>
            </a:extLst>
          </p:cNvPr>
          <p:cNvSpPr/>
          <p:nvPr/>
        </p:nvSpPr>
        <p:spPr>
          <a:xfrm>
            <a:off x="7398327" y="1607127"/>
            <a:ext cx="886691" cy="886691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BD19979-9788-7310-C828-1F6A88C150E6}"/>
              </a:ext>
            </a:extLst>
          </p:cNvPr>
          <p:cNvSpPr/>
          <p:nvPr/>
        </p:nvSpPr>
        <p:spPr>
          <a:xfrm>
            <a:off x="7548417" y="1757217"/>
            <a:ext cx="586510" cy="586510"/>
          </a:xfrm>
          <a:prstGeom prst="ellipse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latin typeface="Montserrat" panose="00000500000000000000" pitchFamily="2" charset="0"/>
              </a:rPr>
              <a:t>4</a:t>
            </a:r>
            <a:endParaRPr lang="en-US" sz="1400" b="1">
              <a:latin typeface="Montserrat" panose="00000500000000000000" pitchFamily="2" charset="0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4935FCAC-8472-2D86-8C28-6887DA1A4023}"/>
              </a:ext>
            </a:extLst>
          </p:cNvPr>
          <p:cNvSpPr/>
          <p:nvPr/>
        </p:nvSpPr>
        <p:spPr>
          <a:xfrm>
            <a:off x="9245600" y="3149600"/>
            <a:ext cx="1514764" cy="2244436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9462AD39-51B0-8EAD-3482-AC633226A71B}"/>
              </a:ext>
            </a:extLst>
          </p:cNvPr>
          <p:cNvSpPr/>
          <p:nvPr/>
        </p:nvSpPr>
        <p:spPr>
          <a:xfrm>
            <a:off x="9555018" y="1607127"/>
            <a:ext cx="886691" cy="886691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935436E-B462-95F6-CB1B-F923293EB904}"/>
              </a:ext>
            </a:extLst>
          </p:cNvPr>
          <p:cNvSpPr/>
          <p:nvPr/>
        </p:nvSpPr>
        <p:spPr>
          <a:xfrm>
            <a:off x="9705108" y="1757217"/>
            <a:ext cx="586510" cy="586510"/>
          </a:xfrm>
          <a:prstGeom prst="ellipse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latin typeface="Montserrat" panose="00000500000000000000" pitchFamily="2" charset="0"/>
              </a:rPr>
              <a:t>5</a:t>
            </a:r>
          </a:p>
        </p:txBody>
      </p:sp>
      <p:sp>
        <p:nvSpPr>
          <p:cNvPr id="30" name="Rectangle 1">
            <a:extLst>
              <a:ext uri="{FF2B5EF4-FFF2-40B4-BE49-F238E27FC236}">
                <a16:creationId xmlns:a16="http://schemas.microsoft.com/office/drawing/2014/main" id="{7566B7AC-12A7-62D1-1B53-C690651B37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775" y="3365304"/>
            <a:ext cx="1341647" cy="600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ontserrat" panose="00000500000000000000" pitchFamily="2" charset="0"/>
              </a:rPr>
              <a:t>Discovery and Requirements Gathering</a:t>
            </a:r>
          </a:p>
        </p:txBody>
      </p:sp>
      <p:sp>
        <p:nvSpPr>
          <p:cNvPr id="31" name="Rectangle 1">
            <a:extLst>
              <a:ext uri="{FF2B5EF4-FFF2-40B4-BE49-F238E27FC236}">
                <a16:creationId xmlns:a16="http://schemas.microsoft.com/office/drawing/2014/main" id="{4FE84425-BEDC-6D62-A8A8-8178D5D3C4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7466" y="3449943"/>
            <a:ext cx="1341647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ontserrat" panose="00000500000000000000" pitchFamily="2" charset="0"/>
              </a:rPr>
              <a:t>Prototyping</a:t>
            </a:r>
          </a:p>
        </p:txBody>
      </p:sp>
      <p:sp>
        <p:nvSpPr>
          <p:cNvPr id="32" name="Rectangle 1">
            <a:extLst>
              <a:ext uri="{FF2B5EF4-FFF2-40B4-BE49-F238E27FC236}">
                <a16:creationId xmlns:a16="http://schemas.microsoft.com/office/drawing/2014/main" id="{6E01FA06-2AF5-B867-A227-6EAE8E4178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4157" y="3398585"/>
            <a:ext cx="134164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ontserrat" panose="00000500000000000000" pitchFamily="2" charset="0"/>
              </a:rPr>
              <a:t>Prototype Evaluation</a:t>
            </a:r>
          </a:p>
        </p:txBody>
      </p:sp>
      <p:sp>
        <p:nvSpPr>
          <p:cNvPr id="36" name="Rectangle 1">
            <a:extLst>
              <a:ext uri="{FF2B5EF4-FFF2-40B4-BE49-F238E27FC236}">
                <a16:creationId xmlns:a16="http://schemas.microsoft.com/office/drawing/2014/main" id="{702BA968-0932-24CE-C6BA-5744CDCE0F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1234" y="3398584"/>
            <a:ext cx="134164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ontserrat" panose="00000500000000000000" pitchFamily="2" charset="0"/>
              </a:rPr>
              <a:t>Expand Data Collection</a:t>
            </a:r>
          </a:p>
        </p:txBody>
      </p:sp>
      <p:sp>
        <p:nvSpPr>
          <p:cNvPr id="37" name="Rectangle 1">
            <a:extLst>
              <a:ext uri="{FF2B5EF4-FFF2-40B4-BE49-F238E27FC236}">
                <a16:creationId xmlns:a16="http://schemas.microsoft.com/office/drawing/2014/main" id="{ACE28281-D32E-BA6C-E925-7EA2A49AF5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67917" y="3449943"/>
            <a:ext cx="134164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ontserrat" panose="00000500000000000000" pitchFamily="2" charset="0"/>
              </a:rPr>
              <a:t>Model Development</a:t>
            </a:r>
          </a:p>
        </p:txBody>
      </p:sp>
    </p:spTree>
    <p:extLst>
      <p:ext uri="{BB962C8B-B14F-4D97-AF65-F5344CB8AC3E}">
        <p14:creationId xmlns:p14="http://schemas.microsoft.com/office/powerpoint/2010/main" val="216700671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7A81B8DB-609A-47D2-DCC4-BC689A745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665" y="623686"/>
            <a:ext cx="11274552" cy="780769"/>
          </a:xfrm>
        </p:spPr>
        <p:txBody>
          <a:bodyPr/>
          <a:lstStyle/>
          <a:p>
            <a:pPr algn="ctr"/>
            <a:r>
              <a:rPr lang="en-US" sz="2400">
                <a:latin typeface="Montserrat" panose="00000500000000000000" pitchFamily="2" charset="0"/>
              </a:rPr>
              <a:t>HTML Parsing - Florida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21D257-4E67-7886-C1DC-CF6F32728B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9892" y="6532981"/>
            <a:ext cx="484909" cy="27432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BC64C03-9EC0-4B7E-8FE4-24DBF62E63E5}" type="slidenum">
              <a:rPr lang="en-US" smtClean="0"/>
              <a:pPr>
                <a:spcAft>
                  <a:spcPts val="600"/>
                </a:spcAft>
              </a:pPr>
              <a:t>41</a:t>
            </a:fld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C0E44E9-203C-00EA-0B8B-F20DE2CD8B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4890752"/>
          </a:xfrm>
        </p:spPr>
        <p:txBody>
          <a:bodyPr/>
          <a:lstStyle/>
          <a:p>
            <a:endParaRPr lang="en-US"/>
          </a:p>
        </p:txBody>
      </p:sp>
      <p:pic>
        <p:nvPicPr>
          <p:cNvPr id="22" name="Content Placeholder 21">
            <a:extLst>
              <a:ext uri="{FF2B5EF4-FFF2-40B4-BE49-F238E27FC236}">
                <a16:creationId xmlns:a16="http://schemas.microsoft.com/office/drawing/2014/main" id="{3C4FDF1F-BC43-51DE-56E6-49BE51BAB49F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6238930" y="3429000"/>
            <a:ext cx="5289617" cy="1558925"/>
          </a:xfrm>
          <a:prstGeom prst="rect">
            <a:avLst/>
          </a:prstGeom>
        </p:spPr>
      </p:pic>
      <p:pic>
        <p:nvPicPr>
          <p:cNvPr id="24" name="Content Placeholder 23">
            <a:extLst>
              <a:ext uri="{FF2B5EF4-FFF2-40B4-BE49-F238E27FC236}">
                <a16:creationId xmlns:a16="http://schemas.microsoft.com/office/drawing/2014/main" id="{EB0A55D5-2FEC-36BF-156F-8189D45DDD84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3"/>
          <a:stretch>
            <a:fillRect/>
          </a:stretch>
        </p:blipFill>
        <p:spPr>
          <a:xfrm>
            <a:off x="6197600" y="5303053"/>
            <a:ext cx="5537200" cy="78076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C16019E-3016-3139-539A-B46C415D6C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197" y="1284776"/>
            <a:ext cx="5537201" cy="4890752"/>
          </a:xfrm>
          <a:prstGeom prst="rect">
            <a:avLst/>
          </a:prstGeom>
        </p:spPr>
      </p:pic>
      <p:pic>
        <p:nvPicPr>
          <p:cNvPr id="19" name="Content Placeholder 18">
            <a:extLst>
              <a:ext uri="{FF2B5EF4-FFF2-40B4-BE49-F238E27FC236}">
                <a16:creationId xmlns:a16="http://schemas.microsoft.com/office/drawing/2014/main" id="{C2A5F50D-7271-36B5-2570-55DC2CFD98DD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5"/>
          <a:stretch>
            <a:fillRect/>
          </a:stretch>
        </p:blipFill>
        <p:spPr>
          <a:xfrm>
            <a:off x="6197600" y="1404455"/>
            <a:ext cx="5679972" cy="155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99925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31224F9-A759-0734-2081-317BA34AF8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42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2DBA0A-DE48-4F45-443F-20FDB20A9319}"/>
              </a:ext>
            </a:extLst>
          </p:cNvPr>
          <p:cNvSpPr txBox="1"/>
          <p:nvPr/>
        </p:nvSpPr>
        <p:spPr>
          <a:xfrm>
            <a:off x="0" y="0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52155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EC949353-1D68-7D1B-D779-A38FC177AF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0D43DF-DAD3-1E8F-90CA-4885AD07D1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43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6E406A8-4240-F7CD-5AE7-61BC3A65D4C6}"/>
              </a:ext>
            </a:extLst>
          </p:cNvPr>
          <p:cNvSpPr txBox="1"/>
          <p:nvPr/>
        </p:nvSpPr>
        <p:spPr>
          <a:xfrm>
            <a:off x="162962" y="88266"/>
            <a:ext cx="12294606" cy="5193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/>
          <a:p>
            <a:r>
              <a:rPr lang="en-US" sz="2000" b="1">
                <a:solidFill>
                  <a:schemeClr val="accent1"/>
                </a:solidFill>
                <a:latin typeface="+mj-lt"/>
              </a:rPr>
              <a:t>Workflow</a:t>
            </a:r>
            <a:endParaRPr lang="en-US">
              <a:latin typeface="+mj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02E24B5-1420-BC01-F0F8-6E037A2E98F4}"/>
              </a:ext>
            </a:extLst>
          </p:cNvPr>
          <p:cNvGrpSpPr/>
          <p:nvPr/>
        </p:nvGrpSpPr>
        <p:grpSpPr>
          <a:xfrm>
            <a:off x="162962" y="3775025"/>
            <a:ext cx="1600955" cy="1661310"/>
            <a:chOff x="570368" y="1803903"/>
            <a:chExt cx="3330167" cy="2940113"/>
          </a:xfrm>
        </p:grpSpPr>
        <p:pic>
          <p:nvPicPr>
            <p:cNvPr id="5" name="Graphic 4" descr="Laptop outline">
              <a:extLst>
                <a:ext uri="{FF2B5EF4-FFF2-40B4-BE49-F238E27FC236}">
                  <a16:creationId xmlns:a16="http://schemas.microsoft.com/office/drawing/2014/main" id="{8A3BBF4A-E8A6-ADFB-8430-3EC3BD496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70368" y="1803903"/>
              <a:ext cx="3330167" cy="2940113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67D9170-E285-3E80-1EA1-8474CF3C44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13569" y="2755734"/>
              <a:ext cx="1853309" cy="865652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C183C06F-2ED2-5A0C-D303-3BEACC20ACF9}"/>
              </a:ext>
            </a:extLst>
          </p:cNvPr>
          <p:cNvSpPr txBox="1"/>
          <p:nvPr/>
        </p:nvSpPr>
        <p:spPr>
          <a:xfrm>
            <a:off x="721635" y="1804364"/>
            <a:ext cx="1732985" cy="60276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100">
                <a:latin typeface="Montserrat" panose="00000500000000000000" pitchFamily="2" charset="0"/>
              </a:rPr>
              <a:t>Visit and understand the website structure for a state</a:t>
            </a:r>
          </a:p>
        </p:txBody>
      </p:sp>
      <p:pic>
        <p:nvPicPr>
          <p:cNvPr id="12" name="Graphic 11" descr="Clipboard Checked outline">
            <a:extLst>
              <a:ext uri="{FF2B5EF4-FFF2-40B4-BE49-F238E27FC236}">
                <a16:creationId xmlns:a16="http://schemas.microsoft.com/office/drawing/2014/main" id="{57EBB322-4A4B-7044-FE69-88A4FC7A73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47641" y="2487761"/>
            <a:ext cx="914400" cy="9144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A9406CF-1987-47AD-B2BC-EC026094A590}"/>
              </a:ext>
            </a:extLst>
          </p:cNvPr>
          <p:cNvSpPr txBox="1"/>
          <p:nvPr/>
        </p:nvSpPr>
        <p:spPr>
          <a:xfrm>
            <a:off x="3489355" y="1804364"/>
            <a:ext cx="1732985" cy="60276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100">
                <a:latin typeface="Montserrat" panose="00000500000000000000" pitchFamily="2" charset="0"/>
              </a:rPr>
              <a:t>Select the best approach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F6F60C-E5A2-FE81-1BAB-14DFB1A023A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46720" y="563785"/>
            <a:ext cx="3143106" cy="2745783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C19F6C6B-23D8-6B2F-BF45-9A2083A09D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089" y="2355924"/>
            <a:ext cx="1178075" cy="1178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506231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1749ABB-2A0F-7D63-F7F1-5C0E3251E7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44</a:t>
            </a:fld>
            <a:endParaRPr lang="en-US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47B3DE4-08CB-0E9D-E9AD-44F559B54308}"/>
              </a:ext>
            </a:extLst>
          </p:cNvPr>
          <p:cNvSpPr/>
          <p:nvPr/>
        </p:nvSpPr>
        <p:spPr>
          <a:xfrm>
            <a:off x="2415941" y="1915427"/>
            <a:ext cx="3580598" cy="273357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C3DDFAE-A3A3-6050-2652-74B120993AF6}"/>
              </a:ext>
            </a:extLst>
          </p:cNvPr>
          <p:cNvSpPr/>
          <p:nvPr/>
        </p:nvSpPr>
        <p:spPr>
          <a:xfrm>
            <a:off x="6968691" y="2002055"/>
            <a:ext cx="3898231" cy="2646948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46238716-F600-F051-DF2F-E90071BEEA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8412" y="2271897"/>
            <a:ext cx="1735655" cy="1157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5373BF1-4DD4-678E-350A-862038005F76}"/>
              </a:ext>
            </a:extLst>
          </p:cNvPr>
          <p:cNvSpPr txBox="1"/>
          <p:nvPr/>
        </p:nvSpPr>
        <p:spPr>
          <a:xfrm>
            <a:off x="180474" y="438099"/>
            <a:ext cx="609760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br>
              <a:rPr lang="en-US"/>
            </a:br>
            <a:r>
              <a:rPr lang="en-US"/>
              <a:t>1. Selenium Automation </a:t>
            </a:r>
            <a:br>
              <a:rPr lang="en-US"/>
            </a:br>
            <a:r>
              <a:rPr lang="en-US"/>
              <a:t>2. HTML parsing with </a:t>
            </a:r>
            <a:r>
              <a:rPr lang="en-US" err="1"/>
              <a:t>BeautifulSoup</a:t>
            </a:r>
            <a:endParaRPr lang="en-US"/>
          </a:p>
          <a:p>
            <a:pPr algn="l"/>
            <a:r>
              <a:rPr lang="en-US"/>
              <a:t>3. Direct  JSON/CSV download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4664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5F72768-748C-0348-9690-B5D93EE9AA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solidFill>
                  <a:schemeClr val="accent3"/>
                </a:solidFill>
                <a:latin typeface="Montserrat" panose="00000500000000000000" pitchFamily="2" charset="0"/>
              </a:rPr>
              <a:t>Optimizing Legal review process of Healthcare Policy changes</a:t>
            </a:r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FF50C84-36D8-444B-973B-F4A6C25ACF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Montserrat" panose="00000500000000000000" pitchFamily="2" charset="0"/>
              </a:rPr>
              <a:t>Legal IQ</a:t>
            </a:r>
          </a:p>
        </p:txBody>
      </p:sp>
    </p:spTree>
    <p:extLst>
      <p:ext uri="{BB962C8B-B14F-4D97-AF65-F5344CB8AC3E}">
        <p14:creationId xmlns:p14="http://schemas.microsoft.com/office/powerpoint/2010/main" val="3417645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1EC133-E94A-1EEA-9922-3498B0959B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6</a:t>
            </a:fld>
            <a:endParaRPr lang="en-US"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299F6686-B83D-4414-A0FC-35F8B087842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031122"/>
              </p:ext>
            </p:extLst>
          </p:nvPr>
        </p:nvGraphicFramePr>
        <p:xfrm>
          <a:off x="313510" y="1623856"/>
          <a:ext cx="5540828" cy="36102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F4E95F1A-33B7-035A-2509-B3D327B7F81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6444473"/>
              </p:ext>
            </p:extLst>
          </p:nvPr>
        </p:nvGraphicFramePr>
        <p:xfrm>
          <a:off x="6194426" y="1623857"/>
          <a:ext cx="5540375" cy="36102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5578E817-BDDB-1201-4059-D7B540F1BB68}"/>
              </a:ext>
            </a:extLst>
          </p:cNvPr>
          <p:cNvSpPr>
            <a:spLocks noGrp="1"/>
          </p:cNvSpPr>
          <p:nvPr/>
        </p:nvSpPr>
        <p:spPr>
          <a:xfrm>
            <a:off x="313510" y="50699"/>
            <a:ext cx="11277600" cy="914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2400" b="1">
                <a:latin typeface="+mj-lt"/>
              </a:rPr>
              <a:t>Transforming Regulatory Monitoring: From Manual Processes to AI Automation</a:t>
            </a:r>
            <a:endParaRPr lang="en-US" sz="24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342049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E76FEC2-6AC0-5383-52C0-CCA5C37CF29D}"/>
              </a:ext>
            </a:extLst>
          </p:cNvPr>
          <p:cNvSpPr>
            <a:spLocks noGrp="1"/>
          </p:cNvSpPr>
          <p:nvPr/>
        </p:nvSpPr>
        <p:spPr>
          <a:xfrm>
            <a:off x="187314" y="112624"/>
            <a:ext cx="11277600" cy="4247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2400" b="1">
                <a:latin typeface="+mj-lt"/>
              </a:rPr>
              <a:t>Project Team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F81056C-2B0D-3188-320C-A7072155AC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8042692"/>
              </p:ext>
            </p:extLst>
          </p:nvPr>
        </p:nvGraphicFramePr>
        <p:xfrm>
          <a:off x="2303334" y="938991"/>
          <a:ext cx="75853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43668">
                  <a:extLst>
                    <a:ext uri="{9D8B030D-6E8A-4147-A177-3AD203B41FA5}">
                      <a16:colId xmlns:a16="http://schemas.microsoft.com/office/drawing/2014/main" val="4131924603"/>
                    </a:ext>
                  </a:extLst>
                </a:gridCol>
                <a:gridCol w="3641664">
                  <a:extLst>
                    <a:ext uri="{9D8B030D-6E8A-4147-A177-3AD203B41FA5}">
                      <a16:colId xmlns:a16="http://schemas.microsoft.com/office/drawing/2014/main" val="33808884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Team Memb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Ro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97619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Krista Baisch; Ashley Harms; Jessica Josep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Users, Leg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63077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Janardhan Kuruva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Montserrat" panose="00000500000000000000" pitchFamily="2" charset="0"/>
                        </a:rPr>
                        <a:t>Lead Analyst (Intern), O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65713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Pranay Nee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Lead and PM, O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88033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Jonathan Edwar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Montserrat" panose="00000500000000000000" pitchFamily="2" charset="0"/>
                        </a:rPr>
                        <a:t>VP, O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1097812"/>
                  </a:ext>
                </a:extLst>
              </a:tr>
            </a:tbl>
          </a:graphicData>
        </a:graphic>
      </p:graphicFrame>
      <p:sp>
        <p:nvSpPr>
          <p:cNvPr id="6" name="Arrow: Chevron 5">
            <a:extLst>
              <a:ext uri="{FF2B5EF4-FFF2-40B4-BE49-F238E27FC236}">
                <a16:creationId xmlns:a16="http://schemas.microsoft.com/office/drawing/2014/main" id="{ACE3D9C8-4BB7-E302-259F-50A6547039A6}"/>
              </a:ext>
            </a:extLst>
          </p:cNvPr>
          <p:cNvSpPr/>
          <p:nvPr/>
        </p:nvSpPr>
        <p:spPr>
          <a:xfrm>
            <a:off x="2686669" y="4266974"/>
            <a:ext cx="2203704" cy="585747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82C7F3E4-C413-84B4-6A5E-B30CCA485344}"/>
              </a:ext>
            </a:extLst>
          </p:cNvPr>
          <p:cNvSpPr/>
          <p:nvPr/>
        </p:nvSpPr>
        <p:spPr>
          <a:xfrm>
            <a:off x="4713589" y="4266973"/>
            <a:ext cx="2203704" cy="585749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2F534C6B-B5B7-2DE0-FBD7-D046FBD1F703}"/>
              </a:ext>
            </a:extLst>
          </p:cNvPr>
          <p:cNvSpPr/>
          <p:nvPr/>
        </p:nvSpPr>
        <p:spPr>
          <a:xfrm>
            <a:off x="6740509" y="4266973"/>
            <a:ext cx="2203704" cy="585749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B6DB57D-C858-C01C-4052-533FE9FC7F44}"/>
              </a:ext>
            </a:extLst>
          </p:cNvPr>
          <p:cNvSpPr/>
          <p:nvPr/>
        </p:nvSpPr>
        <p:spPr>
          <a:xfrm>
            <a:off x="3330997" y="4102322"/>
            <a:ext cx="915048" cy="915048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Montserrat" panose="00000500000000000000" pitchFamily="2" charset="0"/>
              </a:rPr>
              <a:t>P-I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CB6C59E-4FB8-2AC8-2B51-D7808FC6AD3F}"/>
              </a:ext>
            </a:extLst>
          </p:cNvPr>
          <p:cNvSpPr/>
          <p:nvPr/>
        </p:nvSpPr>
        <p:spPr>
          <a:xfrm>
            <a:off x="5269525" y="4102322"/>
            <a:ext cx="915048" cy="915048"/>
          </a:xfrm>
          <a:prstGeom prst="ellipse">
            <a:avLst/>
          </a:prstGeom>
          <a:solidFill>
            <a:srgbClr val="BAA5E4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Montserrat" panose="00000500000000000000" pitchFamily="2" charset="0"/>
              </a:rPr>
              <a:t>P-II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461E8F8-3DE8-0D32-EC53-A847AE65DF74}"/>
              </a:ext>
            </a:extLst>
          </p:cNvPr>
          <p:cNvSpPr/>
          <p:nvPr/>
        </p:nvSpPr>
        <p:spPr>
          <a:xfrm>
            <a:off x="7483249" y="4133922"/>
            <a:ext cx="915048" cy="915048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  <a:latin typeface="Montserrat" panose="00000500000000000000" pitchFamily="2" charset="0"/>
              </a:rPr>
              <a:t>P-III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0589C48-5AA7-EC52-54CA-CA7F1B9A72CA}"/>
              </a:ext>
            </a:extLst>
          </p:cNvPr>
          <p:cNvSpPr txBox="1"/>
          <p:nvPr/>
        </p:nvSpPr>
        <p:spPr>
          <a:xfrm>
            <a:off x="187314" y="3412987"/>
            <a:ext cx="6097656" cy="4247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defTabSz="685800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roject Phas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071A581-A0C2-F21E-5738-6BE43CF62A22}"/>
              </a:ext>
            </a:extLst>
          </p:cNvPr>
          <p:cNvSpPr txBox="1"/>
          <p:nvPr/>
        </p:nvSpPr>
        <p:spPr>
          <a:xfrm>
            <a:off x="2660111" y="5048970"/>
            <a:ext cx="2053477" cy="5857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r>
              <a:rPr lang="en-US" dirty="0"/>
              <a:t>Automate Data Collection (Web Crawling): 51 states + CMS + OIG legislative sit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CA2E92F-9311-9EF6-9141-CD9F2042C2C8}"/>
              </a:ext>
            </a:extLst>
          </p:cNvPr>
          <p:cNvSpPr txBox="1"/>
          <p:nvPr/>
        </p:nvSpPr>
        <p:spPr>
          <a:xfrm>
            <a:off x="4830824" y="5048971"/>
            <a:ext cx="2053477" cy="53426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r>
              <a:rPr lang="en-US" dirty="0"/>
              <a:t>Deploy the solution in production to run it every month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D82194-8C07-5B30-5E72-C89FBCAC7F19}"/>
              </a:ext>
            </a:extLst>
          </p:cNvPr>
          <p:cNvSpPr txBox="1"/>
          <p:nvPr/>
        </p:nvSpPr>
        <p:spPr>
          <a:xfrm>
            <a:off x="7003578" y="5048970"/>
            <a:ext cx="2172754" cy="104809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r>
              <a:rPr lang="en-US"/>
              <a:t>AI/ML solution: </a:t>
            </a:r>
            <a:br>
              <a:rPr lang="en-US"/>
            </a:br>
            <a:r>
              <a:rPr lang="en-US"/>
              <a:t>- determining impact on the Cotiviti solutions </a:t>
            </a:r>
            <a:br>
              <a:rPr lang="en-US"/>
            </a:br>
            <a:r>
              <a:rPr lang="en-US"/>
              <a:t>- generate impact insights </a:t>
            </a:r>
            <a:br>
              <a:rPr lang="en-US"/>
            </a:br>
            <a:r>
              <a:rPr lang="en-US"/>
              <a:t>- chatbot to quickly search the insights</a:t>
            </a:r>
          </a:p>
          <a:p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063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DE649900-3CAE-671A-A3FC-D035A52E3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794" y="537449"/>
            <a:ext cx="11274552" cy="780769"/>
          </a:xfrm>
        </p:spPr>
        <p:txBody>
          <a:bodyPr/>
          <a:lstStyle/>
          <a:p>
            <a:pPr algn="ctr"/>
            <a:r>
              <a:rPr lang="en-US" sz="2400">
                <a:solidFill>
                  <a:schemeClr val="accent2"/>
                </a:solidFill>
                <a:latin typeface="Montserrat" panose="00000500000000000000" pitchFamily="2" charset="0"/>
              </a:rPr>
              <a:t>Direct  JSON/CSV downloads - Maryland</a:t>
            </a:r>
            <a:br>
              <a:rPr lang="en-US" sz="2400">
                <a:solidFill>
                  <a:schemeClr val="accent2"/>
                </a:solidFill>
                <a:latin typeface="Montserrat" panose="00000500000000000000" pitchFamily="2" charset="0"/>
              </a:rPr>
            </a:br>
            <a:br>
              <a:rPr lang="en-US" sz="2400">
                <a:solidFill>
                  <a:schemeClr val="accent2"/>
                </a:solidFill>
                <a:latin typeface="Montserrat" panose="00000500000000000000" pitchFamily="2" charset="0"/>
              </a:rPr>
            </a:br>
            <a:endParaRPr lang="en-US" sz="2400">
              <a:solidFill>
                <a:schemeClr val="accent2"/>
              </a:solidFill>
              <a:latin typeface="Montserrat" panose="00000500000000000000" pitchFamily="2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158264-005F-C955-9570-1B385C979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9892" y="6532981"/>
            <a:ext cx="484909" cy="27432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BC64C03-9EC0-4B7E-8FE4-24DBF62E63E5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29E9AF-9DAF-8D8C-E796-826D3B47F3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4890752"/>
          </a:xfrm>
        </p:spPr>
        <p:txBody>
          <a:bodyPr/>
          <a:lstStyle/>
          <a:p>
            <a:endParaRPr lang="en-US"/>
          </a:p>
        </p:txBody>
      </p:sp>
      <p:pic>
        <p:nvPicPr>
          <p:cNvPr id="25" name="Content Placeholder 24">
            <a:extLst>
              <a:ext uri="{FF2B5EF4-FFF2-40B4-BE49-F238E27FC236}">
                <a16:creationId xmlns:a16="http://schemas.microsoft.com/office/drawing/2014/main" id="{2E241D8C-295A-ADAB-BD22-BF1264A01656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6161686" y="1520792"/>
            <a:ext cx="5739711" cy="1209715"/>
          </a:xfrm>
          <a:prstGeom prst="rect">
            <a:avLst/>
          </a:prstGeom>
        </p:spPr>
      </p:pic>
      <p:pic>
        <p:nvPicPr>
          <p:cNvPr id="27" name="Content Placeholder 26">
            <a:extLst>
              <a:ext uri="{FF2B5EF4-FFF2-40B4-BE49-F238E27FC236}">
                <a16:creationId xmlns:a16="http://schemas.microsoft.com/office/drawing/2014/main" id="{ED951F76-693B-900E-9BF2-47FF21FBB8F5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3"/>
          <a:stretch>
            <a:fillRect/>
          </a:stretch>
        </p:blipFill>
        <p:spPr>
          <a:xfrm>
            <a:off x="6166772" y="2933081"/>
            <a:ext cx="5766008" cy="1387674"/>
          </a:xfrm>
          <a:prstGeom prst="rect">
            <a:avLst/>
          </a:prstGeom>
        </p:spPr>
      </p:pic>
      <p:pic>
        <p:nvPicPr>
          <p:cNvPr id="29" name="Content Placeholder 28">
            <a:extLst>
              <a:ext uri="{FF2B5EF4-FFF2-40B4-BE49-F238E27FC236}">
                <a16:creationId xmlns:a16="http://schemas.microsoft.com/office/drawing/2014/main" id="{ADD0970E-15AA-E6E2-3941-B2D799A4A56E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4"/>
          <a:stretch>
            <a:fillRect/>
          </a:stretch>
        </p:blipFill>
        <p:spPr>
          <a:xfrm>
            <a:off x="6161687" y="4487801"/>
            <a:ext cx="5771093" cy="168772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305A5FB-C86C-F00B-4ACD-68D95A2BFA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198" y="1302282"/>
            <a:ext cx="5537200" cy="4894824"/>
          </a:xfrm>
          <a:prstGeom prst="rect">
            <a:avLst/>
          </a:prstGeom>
        </p:spPr>
      </p:pic>
      <p:sp>
        <p:nvSpPr>
          <p:cNvPr id="23" name="Oval 22">
            <a:extLst>
              <a:ext uri="{FF2B5EF4-FFF2-40B4-BE49-F238E27FC236}">
                <a16:creationId xmlns:a16="http://schemas.microsoft.com/office/drawing/2014/main" id="{0EFFF4B1-8567-B818-7C97-57EAD18BC00A}"/>
              </a:ext>
            </a:extLst>
          </p:cNvPr>
          <p:cNvSpPr/>
          <p:nvPr/>
        </p:nvSpPr>
        <p:spPr>
          <a:xfrm>
            <a:off x="4417996" y="4851133"/>
            <a:ext cx="1576402" cy="780769"/>
          </a:xfrm>
          <a:prstGeom prst="ellipse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1456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8D60EA6-1E9E-C470-C706-AAD63EA2C97A}"/>
              </a:ext>
            </a:extLst>
          </p:cNvPr>
          <p:cNvSpPr txBox="1"/>
          <p:nvPr/>
        </p:nvSpPr>
        <p:spPr>
          <a:xfrm>
            <a:off x="2045369" y="411407"/>
            <a:ext cx="11274552" cy="78076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defTabSz="6858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800">
                <a:solidFill>
                  <a:schemeClr val="accent2"/>
                </a:solidFill>
                <a:latin typeface="Montserrat" panose="00000500000000000000" pitchFamily="2" charset="0"/>
                <a:ea typeface="+mj-ea"/>
                <a:cs typeface="+mj-cs"/>
              </a:rPr>
              <a:t>S</a:t>
            </a:r>
            <a:r>
              <a:rPr lang="en-US" sz="2800" kern="1200">
                <a:solidFill>
                  <a:schemeClr val="accent2"/>
                </a:solidFill>
                <a:latin typeface="Montserrat" panose="00000500000000000000" pitchFamily="2" charset="0"/>
                <a:ea typeface="+mj-ea"/>
                <a:cs typeface="+mj-cs"/>
              </a:rPr>
              <a:t>elenium  Automation Approach - California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ECAB990-B995-384B-5723-2A9EB76B60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9892" y="6532981"/>
            <a:ext cx="484909" cy="274320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8BC64C03-9EC0-4B7E-8FE4-24DBF62E63E5}" type="slidenum">
              <a:rPr lang="en-US" smtClean="0"/>
              <a:pPr>
                <a:spcAft>
                  <a:spcPts val="600"/>
                </a:spcAft>
              </a:pPr>
              <a:t>9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CB02816-E303-035B-32E1-2BCFC52857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4890752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CB02816-E303-035B-32E1-2BCFC52857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4890752"/>
          </a:xfrm>
        </p:spPr>
        <p:txBody>
          <a:bodyPr/>
          <a:lstStyle/>
          <a:p>
            <a:pPr marL="0" indent="0">
              <a:buNone/>
            </a:pP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63BDC0F-1A25-FDC5-827F-DDD118A9D9E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269" b="-3"/>
          <a:stretch>
            <a:fillRect/>
          </a:stretch>
        </p:blipFill>
        <p:spPr>
          <a:xfrm>
            <a:off x="6197602" y="1284790"/>
            <a:ext cx="5537200" cy="2352771"/>
          </a:xfrm>
          <a:prstGeom prst="rect">
            <a:avLst/>
          </a:prstGeom>
          <a:noFill/>
        </p:spPr>
      </p:pic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CD1DF63E-4AD5-EE35-7309-D7957BDCB42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0" y="3822759"/>
            <a:ext cx="5537200" cy="2352770"/>
          </a:xfrm>
        </p:spPr>
        <p:txBody>
          <a:bodyPr/>
          <a:lstStyle/>
          <a:p>
            <a:endParaRPr lang="en-US"/>
          </a:p>
        </p:txBody>
      </p:sp>
      <p:pic>
        <p:nvPicPr>
          <p:cNvPr id="19" name="Content Placeholder 18">
            <a:extLst>
              <a:ext uri="{FF2B5EF4-FFF2-40B4-BE49-F238E27FC236}">
                <a16:creationId xmlns:a16="http://schemas.microsoft.com/office/drawing/2014/main" id="{AC199E8A-7091-F6B1-9AEE-18FB062C5977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3"/>
          <a:stretch>
            <a:fillRect/>
          </a:stretch>
        </p:blipFill>
        <p:spPr>
          <a:xfrm>
            <a:off x="6197600" y="3822759"/>
            <a:ext cx="5534152" cy="235276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9E54D42-14C0-44BE-532A-6E54F6BAD9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198" y="1284775"/>
            <a:ext cx="5537201" cy="489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739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Gp8fk0OF3Czihc62m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cgM8Za4zcKAG1PnLP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KIivFnFJr8zfOPH3IB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PtZwWNNZ_N4Z9Yz22PW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fcNeXbrJyUhzm821I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cgM8Za4zcKAG1PnLP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53FziJKxKTAmuRYooT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53FziJKxKTAmuRYooT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ZG4Xsi8ujo4POZdcaa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sW.DIeOxRiDmUqeiCUfQ"/>
</p:tagLst>
</file>

<file path=ppt/theme/theme1.xml><?xml version="1.0" encoding="utf-8"?>
<a:theme xmlns:a="http://schemas.openxmlformats.org/drawingml/2006/main" name="PPT Template - Cotiviti Corporate">
  <a:themeElements>
    <a:clrScheme name="Cotiviti 2025">
      <a:dk1>
        <a:srgbClr val="000000"/>
      </a:dk1>
      <a:lt1>
        <a:srgbClr val="FFFFFF"/>
      </a:lt1>
      <a:dk2>
        <a:srgbClr val="FF8600"/>
      </a:dk2>
      <a:lt2>
        <a:srgbClr val="94D648"/>
      </a:lt2>
      <a:accent1>
        <a:srgbClr val="30006F"/>
      </a:accent1>
      <a:accent2>
        <a:srgbClr val="9579D3"/>
      </a:accent2>
      <a:accent3>
        <a:srgbClr val="EC008C"/>
      </a:accent3>
      <a:accent4>
        <a:srgbClr val="00B1F5"/>
      </a:accent4>
      <a:accent5>
        <a:srgbClr val="ECE700"/>
      </a:accent5>
      <a:accent6>
        <a:srgbClr val="00D3CB"/>
      </a:accent6>
      <a:hlink>
        <a:srgbClr val="9579D3"/>
      </a:hlink>
      <a:folHlink>
        <a:srgbClr val="9578D3"/>
      </a:folHlink>
    </a:clrScheme>
    <a:fontScheme name="Cotiviti 2025">
      <a:majorFont>
        <a:latin typeface="Montserrat SemiBold"/>
        <a:ea typeface=""/>
        <a:cs typeface=""/>
      </a:majorFont>
      <a:minorFont>
        <a:latin typeface="Montserrat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PTTemplate2025" id="{7ECD081A-B5A8-7947-9DE3-CF83796D7EC5}" vid="{E48CC56D-70E2-5D46-AB0F-0D80E894DDE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f93685d-c8ff-466b-ac8b-e5f4ec489695">
      <Terms xmlns="http://schemas.microsoft.com/office/infopath/2007/PartnerControls"/>
    </lcf76f155ced4ddcb4097134ff3c332f>
    <TaxCatchAll xmlns="768f84be-2937-4f54-8049-83c4d941f15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4D6CE3D13E6C4FA786C6037481A13F" ma:contentTypeVersion="14" ma:contentTypeDescription="Create a new document." ma:contentTypeScope="" ma:versionID="10dd217d50c29664b0152e7dddd72ee6">
  <xsd:schema xmlns:xsd="http://www.w3.org/2001/XMLSchema" xmlns:xs="http://www.w3.org/2001/XMLSchema" xmlns:p="http://schemas.microsoft.com/office/2006/metadata/properties" xmlns:ns2="768f84be-2937-4f54-8049-83c4d941f153" xmlns:ns3="0f93685d-c8ff-466b-ac8b-e5f4ec489695" targetNamespace="http://schemas.microsoft.com/office/2006/metadata/properties" ma:root="true" ma:fieldsID="89c3278067252e027d1e4cef9f6faa1c" ns2:_="" ns3:_="">
    <xsd:import namespace="768f84be-2937-4f54-8049-83c4d941f153"/>
    <xsd:import namespace="0f93685d-c8ff-466b-ac8b-e5f4ec48969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f84be-2937-4f54-8049-83c4d941f15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98c438ca-409b-496c-9fe7-646d9655597c}" ma:internalName="TaxCatchAll" ma:showField="CatchAllData" ma:web="768f84be-2937-4f54-8049-83c4d941f15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93685d-c8ff-466b-ac8b-e5f4ec4896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4ebe00df-d97b-4d6c-b305-55c807d4998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1BE0162-B3B5-4B02-9B39-8239381A7630}">
  <ds:schemaRefs>
    <ds:schemaRef ds:uri="http://purl.org/dc/dcmitype/"/>
    <ds:schemaRef ds:uri="http://schemas.microsoft.com/office/2006/metadata/properties"/>
    <ds:schemaRef ds:uri="http://schemas.microsoft.com/office/infopath/2007/PartnerControls"/>
    <ds:schemaRef ds:uri="768f84be-2937-4f54-8049-83c4d941f15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0f93685d-c8ff-466b-ac8b-e5f4ec489695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89721971-EA64-4852-BDAA-629B9AE14DB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D57FCF8-AFA9-445C-AC6B-56F945EA5234}">
  <ds:schemaRefs>
    <ds:schemaRef ds:uri="0f93685d-c8ff-466b-ac8b-e5f4ec489695"/>
    <ds:schemaRef ds:uri="768f84be-2937-4f54-8049-83c4d941f15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7680316a-5e9e-4cc5-a52e-9ee89ee8c404}" enabled="0" method="" siteId="{7680316a-5e9e-4cc5-a52e-9ee89ee8c40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03</TotalTime>
  <Words>2245</Words>
  <Application>Microsoft Office PowerPoint</Application>
  <PresentationFormat>Widescreen</PresentationFormat>
  <Paragraphs>606</Paragraphs>
  <Slides>44</Slides>
  <Notes>15</Notes>
  <HiddenSlides>11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54" baseType="lpstr">
      <vt:lpstr>Montserrat SemiBold</vt:lpstr>
      <vt:lpstr>Montserrat</vt:lpstr>
      <vt:lpstr>Nunito Sans</vt:lpstr>
      <vt:lpstr>Montserrat Light</vt:lpstr>
      <vt:lpstr>Wingdings</vt:lpstr>
      <vt:lpstr>Courier New</vt:lpstr>
      <vt:lpstr>Arial</vt:lpstr>
      <vt:lpstr>Montserrat Medium</vt:lpstr>
      <vt:lpstr>PPT Template - Cotiviti Corporate</vt:lpstr>
      <vt:lpstr>think-cell Slide</vt:lpstr>
      <vt:lpstr>PowerPoint Presentation</vt:lpstr>
      <vt:lpstr>Agenda</vt:lpstr>
      <vt:lpstr>PowerPoint Presentation</vt:lpstr>
      <vt:lpstr>PowerPoint Presentation</vt:lpstr>
      <vt:lpstr>Legal IQ</vt:lpstr>
      <vt:lpstr>PowerPoint Presentation</vt:lpstr>
      <vt:lpstr>PowerPoint Presentation</vt:lpstr>
      <vt:lpstr>Direct  JSON/CSV downloads - Maryland  </vt:lpstr>
      <vt:lpstr>PowerPoint Presentation</vt:lpstr>
      <vt:lpstr>PowerPoint Presentation</vt:lpstr>
      <vt:lpstr>PowerPoint Presentation</vt:lpstr>
      <vt:lpstr>PowerPoint Presentation</vt:lpstr>
      <vt:lpstr>Out of Sequence (OOS)</vt:lpstr>
      <vt:lpstr>PowerPoint Presentation</vt:lpstr>
      <vt:lpstr>PowerPoint Presentation</vt:lpstr>
      <vt:lpstr>PowerPoint Presentation</vt:lpstr>
      <vt:lpstr>Next Step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CSC – CVP</vt:lpstr>
      <vt:lpstr>PowerPoint Presentation</vt:lpstr>
      <vt:lpstr>PowerPoint Presentation</vt:lpstr>
      <vt:lpstr>PowerPoint Presentation</vt:lpstr>
      <vt:lpstr>All PPM Clients RVA - ICM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TML Parsing - Florida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Kuruva, Janardhan</dc:creator>
  <cp:keywords/>
  <dc:description/>
  <cp:lastModifiedBy>Kabadi, Pooja</cp:lastModifiedBy>
  <cp:revision>2</cp:revision>
  <cp:lastPrinted>2021-12-14T17:29:48Z</cp:lastPrinted>
  <dcterms:created xsi:type="dcterms:W3CDTF">2025-07-06T23:22:21Z</dcterms:created>
  <dcterms:modified xsi:type="dcterms:W3CDTF">2025-10-31T04:14:1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4D6CE3D13E6C4FA786C6037481A13F</vt:lpwstr>
  </property>
  <property fmtid="{D5CDD505-2E9C-101B-9397-08002B2CF9AE}" pid="3" name="MediaServiceImageTags">
    <vt:lpwstr/>
  </property>
</Properties>
</file>